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09" r:id="rId4"/>
    <p:sldMasterId id="2147483897" r:id="rId5"/>
    <p:sldMasterId id="2147483838" r:id="rId6"/>
  </p:sldMasterIdLst>
  <p:notesMasterIdLst>
    <p:notesMasterId r:id="rId14"/>
  </p:notesMasterIdLst>
  <p:handoutMasterIdLst>
    <p:handoutMasterId r:id="rId15"/>
  </p:handoutMasterIdLst>
  <p:sldIdLst>
    <p:sldId id="450" r:id="rId7"/>
    <p:sldId id="458" r:id="rId8"/>
    <p:sldId id="466" r:id="rId9"/>
    <p:sldId id="457" r:id="rId10"/>
    <p:sldId id="468" r:id="rId11"/>
    <p:sldId id="467" r:id="rId12"/>
    <p:sldId id="464" r:id="rId13"/>
  </p:sldIdLst>
  <p:sldSz cx="12192000" cy="6858000"/>
  <p:notesSz cx="6858000" cy="9144000"/>
  <p:custDataLst>
    <p:tags r:id="rId16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gadu Kesare, Pooja" initials="DKP" lastIdx="1" clrIdx="0">
    <p:extLst>
      <p:ext uri="{19B8F6BF-5375-455C-9EA6-DF929625EA0E}">
        <p15:presenceInfo xmlns:p15="http://schemas.microsoft.com/office/powerpoint/2012/main" userId="S-1-5-21-1531082355-734649621-3782574898-4274041" providerId="AD"/>
      </p:ext>
    </p:extLst>
  </p:cmAuthor>
  <p:cmAuthor id="2" name="Sabavath, Venkatesh Naik" initials="SVN" lastIdx="1" clrIdx="1">
    <p:extLst>
      <p:ext uri="{19B8F6BF-5375-455C-9EA6-DF929625EA0E}">
        <p15:presenceInfo xmlns:p15="http://schemas.microsoft.com/office/powerpoint/2012/main" userId="S::venkatesh-naik.sabavath@capgemini.com::b5d2e264-fdb3-4214-b532-0c0c368cbb2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1A0D"/>
    <a:srgbClr val="88D5ED"/>
    <a:srgbClr val="DDDCDA"/>
    <a:srgbClr val="180E04"/>
    <a:srgbClr val="FF6327"/>
    <a:srgbClr val="80B8D6"/>
    <a:srgbClr val="6D64CC"/>
    <a:srgbClr val="0F999C"/>
    <a:srgbClr val="C7FF17"/>
    <a:srgbClr val="CC29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695" autoAdjust="0"/>
  </p:normalViewPr>
  <p:slideViewPr>
    <p:cSldViewPr>
      <p:cViewPr varScale="1">
        <p:scale>
          <a:sx n="67" d="100"/>
          <a:sy n="67" d="100"/>
        </p:scale>
        <p:origin x="644" y="4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1692" y="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2/06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2/06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just logo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723701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just logo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630821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10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17.jpe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4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image" Target="../media/image19.jpe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21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7E7BBB61-3E7E-4717-838E-06EC5E8CA95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46000" y="1240610"/>
            <a:ext cx="11700000" cy="51636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  <a:p>
            <a:pPr lvl="4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929027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Object 1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9991689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Picture Placeholder 48">
            <a:extLst>
              <a:ext uri="{FF2B5EF4-FFF2-40B4-BE49-F238E27FC236}">
                <a16:creationId xmlns:a16="http://schemas.microsoft.com/office/drawing/2014/main" id="{4212BD44-DEDF-4B08-8824-204652F9616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17196" y="2067718"/>
            <a:ext cx="4910139" cy="272256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368" y="2052422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07368" y="298852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D6AE9D-467E-46C0-B32B-79A9B07CDD1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07368" y="3973778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1661374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1"/>
            <a:ext cx="6423099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401" y="12267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401" y="1912987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401" y="25934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401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401" y="39601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401" y="464788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401" y="53268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401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409831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853" name="Freeform 5"/>
          <p:cNvSpPr>
            <a:spLocks/>
          </p:cNvSpPr>
          <p:nvPr userDrawn="1"/>
        </p:nvSpPr>
        <p:spPr bwMode="auto">
          <a:xfrm>
            <a:off x="0" y="1"/>
            <a:ext cx="6884760" cy="6403071"/>
          </a:xfrm>
          <a:custGeom>
            <a:avLst/>
            <a:gdLst/>
            <a:ahLst/>
            <a:cxnLst>
              <a:cxn ang="0">
                <a:pos x="0" y="1449"/>
              </a:cxn>
              <a:cxn ang="0">
                <a:pos x="0" y="0"/>
              </a:cxn>
              <a:cxn ang="0">
                <a:pos x="2215" y="0"/>
              </a:cxn>
              <a:cxn ang="0">
                <a:pos x="2229" y="14"/>
              </a:cxn>
              <a:cxn ang="0">
                <a:pos x="2486" y="284"/>
              </a:cxn>
              <a:cxn ang="0">
                <a:pos x="2694" y="575"/>
              </a:cxn>
              <a:cxn ang="0">
                <a:pos x="2806" y="855"/>
              </a:cxn>
              <a:cxn ang="0">
                <a:pos x="2824" y="979"/>
              </a:cxn>
              <a:cxn ang="0">
                <a:pos x="2824" y="1044"/>
              </a:cxn>
              <a:cxn ang="0">
                <a:pos x="2822" y="1069"/>
              </a:cxn>
              <a:cxn ang="0">
                <a:pos x="2816" y="1118"/>
              </a:cxn>
              <a:cxn ang="0">
                <a:pos x="2733" y="1340"/>
              </a:cxn>
              <a:cxn ang="0">
                <a:pos x="2652" y="1454"/>
              </a:cxn>
              <a:cxn ang="0">
                <a:pos x="2441" y="1652"/>
              </a:cxn>
              <a:cxn ang="0">
                <a:pos x="2098" y="1873"/>
              </a:cxn>
              <a:cxn ang="0">
                <a:pos x="1711" y="2073"/>
              </a:cxn>
              <a:cxn ang="0">
                <a:pos x="1382" y="2243"/>
              </a:cxn>
              <a:cxn ang="0">
                <a:pos x="1159" y="2392"/>
              </a:cxn>
              <a:cxn ang="0">
                <a:pos x="1101" y="2445"/>
              </a:cxn>
              <a:cxn ang="0">
                <a:pos x="1018" y="2588"/>
              </a:cxn>
              <a:cxn ang="0">
                <a:pos x="1011" y="2595"/>
              </a:cxn>
              <a:cxn ang="0">
                <a:pos x="983" y="2603"/>
              </a:cxn>
              <a:cxn ang="0">
                <a:pos x="878" y="2622"/>
              </a:cxn>
              <a:cxn ang="0">
                <a:pos x="863" y="2626"/>
              </a:cxn>
              <a:cxn ang="0">
                <a:pos x="783" y="2626"/>
              </a:cxn>
              <a:cxn ang="0">
                <a:pos x="769" y="2624"/>
              </a:cxn>
              <a:cxn ang="0">
                <a:pos x="711" y="2616"/>
              </a:cxn>
              <a:cxn ang="0">
                <a:pos x="445" y="2480"/>
              </a:cxn>
              <a:cxn ang="0">
                <a:pos x="299" y="2312"/>
              </a:cxn>
              <a:cxn ang="0">
                <a:pos x="149" y="2020"/>
              </a:cxn>
              <a:cxn ang="0">
                <a:pos x="48" y="1690"/>
              </a:cxn>
              <a:cxn ang="0">
                <a:pos x="4" y="1458"/>
              </a:cxn>
              <a:cxn ang="0">
                <a:pos x="0" y="1449"/>
              </a:cxn>
            </a:cxnLst>
            <a:rect l="0" t="0" r="r" b="b"/>
            <a:pathLst>
              <a:path w="2824" h="2626">
                <a:moveTo>
                  <a:pt x="0" y="1449"/>
                </a:moveTo>
                <a:cubicBezTo>
                  <a:pt x="0" y="966"/>
                  <a:pt x="0" y="483"/>
                  <a:pt x="0" y="0"/>
                </a:cubicBezTo>
                <a:cubicBezTo>
                  <a:pt x="738" y="0"/>
                  <a:pt x="1477" y="0"/>
                  <a:pt x="2215" y="0"/>
                </a:cubicBezTo>
                <a:cubicBezTo>
                  <a:pt x="2219" y="6"/>
                  <a:pt x="2224" y="9"/>
                  <a:pt x="2229" y="14"/>
                </a:cubicBezTo>
                <a:cubicBezTo>
                  <a:pt x="2319" y="100"/>
                  <a:pt x="2407" y="188"/>
                  <a:pt x="2486" y="284"/>
                </a:cubicBezTo>
                <a:cubicBezTo>
                  <a:pt x="2563" y="375"/>
                  <a:pt x="2635" y="471"/>
                  <a:pt x="2694" y="575"/>
                </a:cubicBezTo>
                <a:cubicBezTo>
                  <a:pt x="2744" y="663"/>
                  <a:pt x="2784" y="756"/>
                  <a:pt x="2806" y="855"/>
                </a:cubicBezTo>
                <a:cubicBezTo>
                  <a:pt x="2816" y="896"/>
                  <a:pt x="2821" y="937"/>
                  <a:pt x="2824" y="979"/>
                </a:cubicBezTo>
                <a:cubicBezTo>
                  <a:pt x="2824" y="1001"/>
                  <a:pt x="2824" y="1022"/>
                  <a:pt x="2824" y="1044"/>
                </a:cubicBezTo>
                <a:cubicBezTo>
                  <a:pt x="2824" y="1052"/>
                  <a:pt x="2820" y="1060"/>
                  <a:pt x="2822" y="1069"/>
                </a:cubicBezTo>
                <a:cubicBezTo>
                  <a:pt x="2821" y="1085"/>
                  <a:pt x="2819" y="1102"/>
                  <a:pt x="2816" y="1118"/>
                </a:cubicBezTo>
                <a:cubicBezTo>
                  <a:pt x="2802" y="1197"/>
                  <a:pt x="2773" y="1271"/>
                  <a:pt x="2733" y="1340"/>
                </a:cubicBezTo>
                <a:cubicBezTo>
                  <a:pt x="2709" y="1381"/>
                  <a:pt x="2682" y="1418"/>
                  <a:pt x="2652" y="1454"/>
                </a:cubicBezTo>
                <a:cubicBezTo>
                  <a:pt x="2590" y="1529"/>
                  <a:pt x="2518" y="1593"/>
                  <a:pt x="2441" y="1652"/>
                </a:cubicBezTo>
                <a:cubicBezTo>
                  <a:pt x="2333" y="1735"/>
                  <a:pt x="2217" y="1806"/>
                  <a:pt x="2098" y="1873"/>
                </a:cubicBezTo>
                <a:cubicBezTo>
                  <a:pt x="1972" y="1944"/>
                  <a:pt x="1841" y="2008"/>
                  <a:pt x="1711" y="2073"/>
                </a:cubicBezTo>
                <a:cubicBezTo>
                  <a:pt x="1600" y="2128"/>
                  <a:pt x="1490" y="2182"/>
                  <a:pt x="1382" y="2243"/>
                </a:cubicBezTo>
                <a:cubicBezTo>
                  <a:pt x="1304" y="2287"/>
                  <a:pt x="1227" y="2333"/>
                  <a:pt x="1159" y="2392"/>
                </a:cubicBezTo>
                <a:cubicBezTo>
                  <a:pt x="1139" y="2409"/>
                  <a:pt x="1119" y="2426"/>
                  <a:pt x="1101" y="2445"/>
                </a:cubicBezTo>
                <a:cubicBezTo>
                  <a:pt x="1062" y="2487"/>
                  <a:pt x="1030" y="2532"/>
                  <a:pt x="1018" y="2588"/>
                </a:cubicBezTo>
                <a:cubicBezTo>
                  <a:pt x="1017" y="2593"/>
                  <a:pt x="1014" y="2594"/>
                  <a:pt x="1011" y="2595"/>
                </a:cubicBezTo>
                <a:cubicBezTo>
                  <a:pt x="1001" y="2598"/>
                  <a:pt x="992" y="2601"/>
                  <a:pt x="983" y="2603"/>
                </a:cubicBezTo>
                <a:cubicBezTo>
                  <a:pt x="948" y="2612"/>
                  <a:pt x="913" y="2618"/>
                  <a:pt x="878" y="2622"/>
                </a:cubicBezTo>
                <a:cubicBezTo>
                  <a:pt x="873" y="2623"/>
                  <a:pt x="867" y="2621"/>
                  <a:pt x="863" y="2626"/>
                </a:cubicBezTo>
                <a:cubicBezTo>
                  <a:pt x="836" y="2626"/>
                  <a:pt x="810" y="2626"/>
                  <a:pt x="783" y="2626"/>
                </a:cubicBezTo>
                <a:cubicBezTo>
                  <a:pt x="778" y="2624"/>
                  <a:pt x="774" y="2624"/>
                  <a:pt x="769" y="2624"/>
                </a:cubicBezTo>
                <a:cubicBezTo>
                  <a:pt x="750" y="2622"/>
                  <a:pt x="730" y="2619"/>
                  <a:pt x="711" y="2616"/>
                </a:cubicBezTo>
                <a:cubicBezTo>
                  <a:pt x="609" y="2596"/>
                  <a:pt x="522" y="2548"/>
                  <a:pt x="445" y="2480"/>
                </a:cubicBezTo>
                <a:cubicBezTo>
                  <a:pt x="388" y="2431"/>
                  <a:pt x="341" y="2373"/>
                  <a:pt x="299" y="2312"/>
                </a:cubicBezTo>
                <a:cubicBezTo>
                  <a:pt x="237" y="2220"/>
                  <a:pt x="190" y="2122"/>
                  <a:pt x="149" y="2020"/>
                </a:cubicBezTo>
                <a:cubicBezTo>
                  <a:pt x="107" y="1913"/>
                  <a:pt x="74" y="1802"/>
                  <a:pt x="48" y="1690"/>
                </a:cubicBezTo>
                <a:cubicBezTo>
                  <a:pt x="30" y="1614"/>
                  <a:pt x="14" y="1536"/>
                  <a:pt x="4" y="1458"/>
                </a:cubicBezTo>
                <a:cubicBezTo>
                  <a:pt x="3" y="1455"/>
                  <a:pt x="3" y="1451"/>
                  <a:pt x="0" y="1449"/>
                </a:cubicBezTo>
                <a:close/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27350" y="0"/>
            <a:ext cx="5061343" cy="17670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956FD36-565A-4468-BCC4-CB77852669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96201" y="124201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6278310-82AA-4E47-A510-E54DC245FB2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96201" y="5495470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BF327CC-2917-45F5-82B2-75A9F742E63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896201" y="464477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69195DA-4761-45A5-B68F-E20845F04F0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896201" y="3794090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43313FC-7C2A-4C39-A322-E5328A14AED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896201" y="294339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9E896F1-84B5-4E7A-BD88-FFAFED8559E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896201" y="209270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43"/>
          </p:nvPr>
        </p:nvSpPr>
        <p:spPr>
          <a:xfrm>
            <a:off x="227014" y="1808165"/>
            <a:ext cx="5060951" cy="25114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80390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8595375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reeform: Shape 8">
            <a:extLst>
              <a:ext uri="{FF2B5EF4-FFF2-40B4-BE49-F238E27FC236}">
                <a16:creationId xmlns:a16="http://schemas.microsoft.com/office/drawing/2014/main" id="{45848EA7-8D7C-4A7B-9182-7C1202EDBFB1}"/>
              </a:ext>
            </a:extLst>
          </p:cNvPr>
          <p:cNvSpPr/>
          <p:nvPr userDrawn="1"/>
        </p:nvSpPr>
        <p:spPr>
          <a:xfrm>
            <a:off x="5550122" y="1104901"/>
            <a:ext cx="6641879" cy="5753101"/>
          </a:xfrm>
          <a:custGeom>
            <a:avLst/>
            <a:gdLst>
              <a:gd name="connsiteX0" fmla="*/ 4389354 w 6641878"/>
              <a:gd name="connsiteY0" fmla="*/ 775 h 6125027"/>
              <a:gd name="connsiteX1" fmla="*/ 6309188 w 6641878"/>
              <a:gd name="connsiteY1" fmla="*/ 158122 h 6125027"/>
              <a:gd name="connsiteX2" fmla="*/ 6641878 w 6641878"/>
              <a:gd name="connsiteY2" fmla="*/ 218708 h 6125027"/>
              <a:gd name="connsiteX3" fmla="*/ 6641878 w 6641878"/>
              <a:gd name="connsiteY3" fmla="*/ 6125027 h 6125027"/>
              <a:gd name="connsiteX4" fmla="*/ 0 w 6641878"/>
              <a:gd name="connsiteY4" fmla="*/ 6125027 h 6125027"/>
              <a:gd name="connsiteX5" fmla="*/ 90624 w 6641878"/>
              <a:gd name="connsiteY5" fmla="*/ 5875088 h 6125027"/>
              <a:gd name="connsiteX6" fmla="*/ 3403890 w 6641878"/>
              <a:gd name="connsiteY6" fmla="*/ 22965 h 6125027"/>
              <a:gd name="connsiteX7" fmla="*/ 4389354 w 6641878"/>
              <a:gd name="connsiteY7" fmla="*/ 775 h 6125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1878" h="6125027">
                <a:moveTo>
                  <a:pt x="4389354" y="775"/>
                </a:moveTo>
                <a:cubicBezTo>
                  <a:pt x="5042595" y="7500"/>
                  <a:pt x="5686424" y="58155"/>
                  <a:pt x="6309188" y="158122"/>
                </a:cubicBezTo>
                <a:lnTo>
                  <a:pt x="6641878" y="218708"/>
                </a:lnTo>
                <a:lnTo>
                  <a:pt x="6641878" y="6125027"/>
                </a:lnTo>
                <a:lnTo>
                  <a:pt x="0" y="6125027"/>
                </a:lnTo>
                <a:lnTo>
                  <a:pt x="90624" y="5875088"/>
                </a:lnTo>
                <a:cubicBezTo>
                  <a:pt x="963229" y="3633055"/>
                  <a:pt x="2980348" y="1576261"/>
                  <a:pt x="3403890" y="22965"/>
                </a:cubicBezTo>
                <a:cubicBezTo>
                  <a:pt x="3733760" y="5034"/>
                  <a:pt x="4062734" y="-2587"/>
                  <a:pt x="4389354" y="77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351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B223EFB8-88D3-4227-B238-464A474B85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4098781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85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74C953F-F6D9-4EEF-A914-7C47201B55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416" y="5021968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85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C26CB88-1502-4963-9C3F-B1DA179217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3175593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85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4E8646B-8451-4052-9B50-DB60E346C8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7385" y="4420940"/>
            <a:ext cx="4902329" cy="1459051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ct val="85000"/>
              </a:lnSpc>
              <a:defRPr sz="16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A06380E9-5885-470D-9428-A5F69B3262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4153" y="3284984"/>
            <a:ext cx="4285560" cy="974725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ct val="85000"/>
              </a:lnSpc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227350" y="1148607"/>
            <a:ext cx="8595375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0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8323" y="6650663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accent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70996" y="6650662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800" dirty="0">
                <a:solidFill>
                  <a:schemeClr val="accent1"/>
                </a:solidFill>
              </a:rPr>
              <a:t>© Capgemini 2020. All rights reserved |</a:t>
            </a:r>
          </a:p>
        </p:txBody>
      </p:sp>
    </p:spTree>
    <p:extLst>
      <p:ext uri="{BB962C8B-B14F-4D97-AF65-F5344CB8AC3E}">
        <p14:creationId xmlns:p14="http://schemas.microsoft.com/office/powerpoint/2010/main" val="31123510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1" y="1"/>
            <a:ext cx="4415527" cy="3176271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1"/>
            <a:ext cx="3633451" cy="23077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1351" y="3420284"/>
            <a:ext cx="4286595" cy="2993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chemeClr val="tx1"/>
              </a:buClr>
              <a:defRPr sz="1600"/>
            </a:lvl2pPr>
            <a:lvl3pPr>
              <a:lnSpc>
                <a:spcPct val="100000"/>
              </a:lnSpc>
              <a:buClr>
                <a:schemeClr val="tx1"/>
              </a:buClr>
              <a:defRPr sz="1600"/>
            </a:lvl3pPr>
            <a:lvl4pPr>
              <a:lnSpc>
                <a:spcPct val="100000"/>
              </a:lnSpc>
              <a:buClr>
                <a:schemeClr val="tx1"/>
              </a:buClr>
              <a:defRPr sz="16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81371" y="1256366"/>
            <a:ext cx="4020459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81372" y="1675320"/>
            <a:ext cx="4020459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Clr>
                <a:schemeClr val="tx1"/>
              </a:buClr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81371" y="4791349"/>
            <a:ext cx="4020459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81371" y="2984557"/>
            <a:ext cx="4020459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713877" y="176796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13877" y="3417398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13877" y="5107842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E0DEE8F-B9F1-4AE4-809E-F3637A76A48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981371" y="3456332"/>
            <a:ext cx="4020459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Clr>
                <a:schemeClr val="tx1"/>
              </a:buClr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DD6EB533-DAB9-41D8-91FB-DD26C32DF90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81370" y="5203712"/>
            <a:ext cx="4020459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Clr>
                <a:schemeClr val="tx1"/>
              </a:buClr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733075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oup 26">
            <a:extLst>
              <a:ext uri="{FF2B5EF4-FFF2-40B4-BE49-F238E27FC236}">
                <a16:creationId xmlns:a16="http://schemas.microsoft.com/office/drawing/2014/main" id="{A21E6713-9596-42F3-A58E-07BCDFE07F8F}"/>
              </a:ext>
            </a:extLst>
          </p:cNvPr>
          <p:cNvGrpSpPr/>
          <p:nvPr userDrawn="1"/>
        </p:nvGrpSpPr>
        <p:grpSpPr>
          <a:xfrm>
            <a:off x="385809" y="348308"/>
            <a:ext cx="956632" cy="576064"/>
            <a:chOff x="10848528" y="188640"/>
            <a:chExt cx="956632" cy="576064"/>
          </a:xfrm>
          <a:solidFill>
            <a:schemeClr val="bg1"/>
          </a:solidFill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DC09C0F-E58B-43B7-A404-F08CF305273A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  <a:grpFill/>
          </p:grpSpPr>
          <p:grpSp>
            <p:nvGrpSpPr>
              <p:cNvPr id="30" name="Groupe 1">
                <a:extLst>
                  <a:ext uri="{FF2B5EF4-FFF2-40B4-BE49-F238E27FC236}">
                    <a16:creationId xmlns:a16="http://schemas.microsoft.com/office/drawing/2014/main" id="{2A21652B-590C-4417-B701-97CB139BD462}"/>
                  </a:ext>
                </a:extLst>
              </p:cNvPr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  <a:grpFill/>
            </p:grpSpPr>
            <p:sp>
              <p:nvSpPr>
                <p:cNvPr id="32" name="Freeform 13">
                  <a:extLst>
                    <a:ext uri="{FF2B5EF4-FFF2-40B4-BE49-F238E27FC236}">
                      <a16:creationId xmlns:a16="http://schemas.microsoft.com/office/drawing/2014/main" id="{022CDBC9-7062-496F-9EC1-621EF4DADD7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3" name="Freeform 14">
                  <a:extLst>
                    <a:ext uri="{FF2B5EF4-FFF2-40B4-BE49-F238E27FC236}">
                      <a16:creationId xmlns:a16="http://schemas.microsoft.com/office/drawing/2014/main" id="{4FF92A06-4598-4B2E-9A92-E6FD30BFF13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1" name="Freeform 43">
                <a:extLst>
                  <a:ext uri="{FF2B5EF4-FFF2-40B4-BE49-F238E27FC236}">
                    <a16:creationId xmlns:a16="http://schemas.microsoft.com/office/drawing/2014/main" id="{62D94A44-1F82-4261-92F0-304CBCA37E1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grpFill/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 dirty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81B16E2-DE11-4310-99A0-A21E5E548F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7375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F950AC52-EED9-473B-A52E-DB655CF6B9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7348" y="1241779"/>
            <a:ext cx="11700000" cy="52272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2364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0477163" cy="1104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9" y="1696370"/>
            <a:ext cx="11700000" cy="44662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9369029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1621042"/>
            <a:ext cx="5400000" cy="432823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188995"/>
            <a:ext cx="5400000" cy="36004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188995"/>
            <a:ext cx="5400000" cy="36004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0477163" cy="1104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1621042"/>
            <a:ext cx="5400000" cy="432823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5501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2292" y="1700808"/>
            <a:ext cx="3537827" cy="4392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2292" y="1276519"/>
            <a:ext cx="3537827" cy="4242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38300" y="1700808"/>
            <a:ext cx="3537827" cy="4392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8300" y="1276519"/>
            <a:ext cx="3537827" cy="4242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09067" y="1700808"/>
            <a:ext cx="3537827" cy="4392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09067" y="1276519"/>
            <a:ext cx="3537827" cy="4242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11068103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8670918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35773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Picture Placeholder 14">
            <a:extLst>
              <a:ext uri="{FF2B5EF4-FFF2-40B4-BE49-F238E27FC236}">
                <a16:creationId xmlns:a16="http://schemas.microsoft.com/office/drawing/2014/main" id="{C0AE5F4C-D104-434A-B4E4-B2F44A3957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19537" y="1700808"/>
            <a:ext cx="1511696" cy="1512168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endParaRPr lang="pl-PL"/>
          </a:p>
        </p:txBody>
      </p:sp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2D632BDF-651D-6746-BEBD-4656158D951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19537" y="3933056"/>
            <a:ext cx="1511696" cy="1512168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endParaRPr lang="pl-PL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391C9247-1C16-BE49-B1F8-9FAB37C1DB9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26361" y="1700808"/>
            <a:ext cx="1511696" cy="1512168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endParaRPr lang="pl-PL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A9AE2F1-4354-714E-8F1B-4EFD372BA7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6361" y="3933056"/>
            <a:ext cx="1511696" cy="1512168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378593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886260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10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phic 14">
            <a:extLst>
              <a:ext uri="{FF2B5EF4-FFF2-40B4-BE49-F238E27FC236}">
                <a16:creationId xmlns:a16="http://schemas.microsoft.com/office/drawing/2014/main" id="{75B56B46-BE13-3D40-BA15-B628009794D9}"/>
              </a:ext>
            </a:extLst>
          </p:cNvPr>
          <p:cNvSpPr/>
          <p:nvPr/>
        </p:nvSpPr>
        <p:spPr>
          <a:xfrm rot="5400000">
            <a:off x="4790615" y="1872746"/>
            <a:ext cx="6858001" cy="3112508"/>
          </a:xfrm>
          <a:custGeom>
            <a:avLst/>
            <a:gdLst>
              <a:gd name="connsiteX0" fmla="*/ 5407628 w 5400675"/>
              <a:gd name="connsiteY0" fmla="*/ 817504 h 2451100"/>
              <a:gd name="connsiteX1" fmla="*/ 4223195 w 5400675"/>
              <a:gd name="connsiteY1" fmla="*/ 817504 h 2451100"/>
              <a:gd name="connsiteX2" fmla="*/ 2156555 w 5400675"/>
              <a:gd name="connsiteY2" fmla="*/ 81319 h 2451100"/>
              <a:gd name="connsiteX3" fmla="*/ 0 w 5400675"/>
              <a:gd name="connsiteY3" fmla="*/ 434544 h 2451100"/>
              <a:gd name="connsiteX4" fmla="*/ 0 w 5400675"/>
              <a:gd name="connsiteY4" fmla="*/ 2454516 h 2451100"/>
              <a:gd name="connsiteX5" fmla="*/ 5407628 w 5400675"/>
              <a:gd name="connsiteY5" fmla="*/ 2454516 h 245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675" h="2451100">
                <a:moveTo>
                  <a:pt x="5407628" y="817504"/>
                </a:moveTo>
                <a:cubicBezTo>
                  <a:pt x="5407628" y="817504"/>
                  <a:pt x="4648200" y="-274280"/>
                  <a:pt x="4223195" y="817504"/>
                </a:cubicBezTo>
                <a:cubicBezTo>
                  <a:pt x="3798189" y="1909289"/>
                  <a:pt x="2809875" y="1300504"/>
                  <a:pt x="2156555" y="81319"/>
                </a:cubicBezTo>
                <a:cubicBezTo>
                  <a:pt x="865918" y="-225448"/>
                  <a:pt x="0" y="434544"/>
                  <a:pt x="0" y="434544"/>
                </a:cubicBezTo>
                <a:lnTo>
                  <a:pt x="0" y="2454516"/>
                </a:lnTo>
                <a:lnTo>
                  <a:pt x="5407628" y="245451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l-PL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9F38E8-7E19-8B4E-9DCB-81168244F089}"/>
              </a:ext>
            </a:extLst>
          </p:cNvPr>
          <p:cNvSpPr/>
          <p:nvPr userDrawn="1"/>
        </p:nvSpPr>
        <p:spPr>
          <a:xfrm>
            <a:off x="0" y="0"/>
            <a:ext cx="6888088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chemeClr val="bg1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Object 1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9991689" cy="1104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47528" y="27089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47528" y="364502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D6AE9D-467E-46C0-B32B-79A9B07CDD1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47528" y="463027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B3678A1-0F5C-0D4B-B1D3-874F1EE8AC6F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</a:rPr>
              <a:t>Presentation Title | Dat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E045F1E-0B89-42E3-8523-E74F71FF96E7}"/>
              </a:ext>
            </a:extLst>
          </p:cNvPr>
          <p:cNvSpPr/>
          <p:nvPr userDrawn="1"/>
        </p:nvSpPr>
        <p:spPr>
          <a:xfrm>
            <a:off x="10165444" y="0"/>
            <a:ext cx="1972961" cy="19442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chemeClr val="bg2"/>
                </a:solidFill>
              </a:ln>
              <a:solidFill>
                <a:schemeClr val="bg2"/>
              </a:solidFill>
            </a:endParaRPr>
          </a:p>
        </p:txBody>
      </p:sp>
      <p:sp>
        <p:nvSpPr>
          <p:cNvPr id="19" name="Freeform 43">
            <a:extLst>
              <a:ext uri="{FF2B5EF4-FFF2-40B4-BE49-F238E27FC236}">
                <a16:creationId xmlns:a16="http://schemas.microsoft.com/office/drawing/2014/main" id="{D58E2009-C26B-4573-84F0-29E331040869}"/>
              </a:ext>
            </a:extLst>
          </p:cNvPr>
          <p:cNvSpPr>
            <a:spLocks noChangeAspect="1"/>
          </p:cNvSpPr>
          <p:nvPr userDrawn="1"/>
        </p:nvSpPr>
        <p:spPr>
          <a:xfrm>
            <a:off x="11520001" y="350702"/>
            <a:ext cx="285158" cy="251999"/>
          </a:xfrm>
          <a:custGeom>
            <a:avLst/>
            <a:gdLst>
              <a:gd name="connsiteX0" fmla="*/ 242180 w 333452"/>
              <a:gd name="connsiteY0" fmla="*/ 21015 h 294678"/>
              <a:gd name="connsiteX1" fmla="*/ 294756 w 333452"/>
              <a:gd name="connsiteY1" fmla="*/ 294679 h 294678"/>
              <a:gd name="connsiteX2" fmla="*/ 336865 w 333452"/>
              <a:gd name="connsiteY2" fmla="*/ 294679 h 294678"/>
              <a:gd name="connsiteX3" fmla="*/ 242102 w 333452"/>
              <a:gd name="connsiteY3" fmla="*/ 0 h 294678"/>
              <a:gd name="connsiteX4" fmla="*/ 168432 w 333452"/>
              <a:gd name="connsiteY4" fmla="*/ 101664 h 294678"/>
              <a:gd name="connsiteX5" fmla="*/ 94763 w 333452"/>
              <a:gd name="connsiteY5" fmla="*/ 0 h 294678"/>
              <a:gd name="connsiteX6" fmla="*/ 0 w 333452"/>
              <a:gd name="connsiteY6" fmla="*/ 294679 h 294678"/>
              <a:gd name="connsiteX7" fmla="*/ 42108 w 333452"/>
              <a:gd name="connsiteY7" fmla="*/ 294679 h 294678"/>
              <a:gd name="connsiteX8" fmla="*/ 94763 w 333452"/>
              <a:gd name="connsiteY8" fmla="*/ 21015 h 294678"/>
              <a:gd name="connsiteX9" fmla="*/ 147417 w 333452"/>
              <a:gd name="connsiteY9" fmla="*/ 273664 h 294678"/>
              <a:gd name="connsiteX10" fmla="*/ 189525 w 333452"/>
              <a:gd name="connsiteY10" fmla="*/ 273664 h 294678"/>
              <a:gd name="connsiteX11" fmla="*/ 242180 w 333452"/>
              <a:gd name="connsiteY11" fmla="*/ 21015 h 294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33452" h="294678">
                <a:moveTo>
                  <a:pt x="242180" y="21015"/>
                </a:moveTo>
                <a:cubicBezTo>
                  <a:pt x="271492" y="21015"/>
                  <a:pt x="294756" y="143850"/>
                  <a:pt x="294756" y="294679"/>
                </a:cubicBezTo>
                <a:lnTo>
                  <a:pt x="336865" y="294679"/>
                </a:lnTo>
                <a:cubicBezTo>
                  <a:pt x="336865" y="131830"/>
                  <a:pt x="294446" y="0"/>
                  <a:pt x="242102" y="0"/>
                </a:cubicBezTo>
                <a:cubicBezTo>
                  <a:pt x="212324" y="0"/>
                  <a:pt x="185803" y="39627"/>
                  <a:pt x="168432" y="101664"/>
                </a:cubicBezTo>
                <a:cubicBezTo>
                  <a:pt x="151062" y="39627"/>
                  <a:pt x="124463" y="0"/>
                  <a:pt x="94763" y="0"/>
                </a:cubicBezTo>
                <a:cubicBezTo>
                  <a:pt x="42418" y="0"/>
                  <a:pt x="0" y="131830"/>
                  <a:pt x="0" y="294679"/>
                </a:cubicBezTo>
                <a:lnTo>
                  <a:pt x="42108" y="294679"/>
                </a:lnTo>
                <a:cubicBezTo>
                  <a:pt x="42108" y="143540"/>
                  <a:pt x="65372" y="21015"/>
                  <a:pt x="94763" y="21015"/>
                </a:cubicBezTo>
                <a:cubicBezTo>
                  <a:pt x="124153" y="21015"/>
                  <a:pt x="147417" y="134156"/>
                  <a:pt x="147417" y="273664"/>
                </a:cubicBezTo>
                <a:lnTo>
                  <a:pt x="189525" y="273664"/>
                </a:lnTo>
                <a:cubicBezTo>
                  <a:pt x="189525" y="134079"/>
                  <a:pt x="212789" y="21015"/>
                  <a:pt x="242180" y="21015"/>
                </a:cubicBezTo>
              </a:path>
            </a:pathLst>
          </a:custGeom>
          <a:solidFill>
            <a:schemeClr val="tx1"/>
          </a:solidFill>
          <a:ln w="7620" cap="flat">
            <a:noFill/>
            <a:prstDash val="solid"/>
            <a:miter/>
          </a:ln>
        </p:spPr>
        <p:txBody>
          <a:bodyPr rtlCol="0" anchor="ctr"/>
          <a:lstStyle/>
          <a:p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B8428C7-ECDC-4FC9-9EAD-A5A98AAED4F0}"/>
              </a:ext>
            </a:extLst>
          </p:cNvPr>
          <p:cNvSpPr txBox="1"/>
          <p:nvPr userDrawn="1"/>
        </p:nvSpPr>
        <p:spPr>
          <a:xfrm>
            <a:off x="11145050" y="368979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FOR</a:t>
            </a:r>
            <a:endParaRPr lang="en-US" sz="1000" dirty="0"/>
          </a:p>
        </p:txBody>
      </p:sp>
      <p:pic>
        <p:nvPicPr>
          <p:cNvPr id="26" name="Picture 25" descr="A close up of a logo&#10;&#10;Description automatically generated">
            <a:extLst>
              <a:ext uri="{FF2B5EF4-FFF2-40B4-BE49-F238E27FC236}">
                <a16:creationId xmlns:a16="http://schemas.microsoft.com/office/drawing/2014/main" id="{9F832EF1-CC57-403D-B6D2-80DE9F707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25" t="28144" r="12201" b="39801"/>
          <a:stretch/>
        </p:blipFill>
        <p:spPr>
          <a:xfrm>
            <a:off x="10861106" y="332656"/>
            <a:ext cx="314280" cy="288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8174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1"/>
            <a:ext cx="6423099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401" y="12267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401" y="1912987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401" y="25934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401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401" y="39601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401" y="464788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401" y="53268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401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 dirty="0"/>
              <a:t>Cliquez sur l'icône pour ajouter une image</a:t>
            </a:r>
            <a:endParaRPr lang="pt-PT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47472C6-7260-47DD-A7C1-57D257E3198D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</a:rPr>
              <a:t>Presentation Title | Date</a:t>
            </a:r>
          </a:p>
        </p:txBody>
      </p:sp>
    </p:spTree>
    <p:extLst>
      <p:ext uri="{BB962C8B-B14F-4D97-AF65-F5344CB8AC3E}">
        <p14:creationId xmlns:p14="http://schemas.microsoft.com/office/powerpoint/2010/main" val="4511969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853" name="Freeform 5"/>
          <p:cNvSpPr>
            <a:spLocks/>
          </p:cNvSpPr>
          <p:nvPr userDrawn="1"/>
        </p:nvSpPr>
        <p:spPr bwMode="auto">
          <a:xfrm>
            <a:off x="0" y="1"/>
            <a:ext cx="6884760" cy="6403071"/>
          </a:xfrm>
          <a:custGeom>
            <a:avLst/>
            <a:gdLst/>
            <a:ahLst/>
            <a:cxnLst>
              <a:cxn ang="0">
                <a:pos x="0" y="1449"/>
              </a:cxn>
              <a:cxn ang="0">
                <a:pos x="0" y="0"/>
              </a:cxn>
              <a:cxn ang="0">
                <a:pos x="2215" y="0"/>
              </a:cxn>
              <a:cxn ang="0">
                <a:pos x="2229" y="14"/>
              </a:cxn>
              <a:cxn ang="0">
                <a:pos x="2486" y="284"/>
              </a:cxn>
              <a:cxn ang="0">
                <a:pos x="2694" y="575"/>
              </a:cxn>
              <a:cxn ang="0">
                <a:pos x="2806" y="855"/>
              </a:cxn>
              <a:cxn ang="0">
                <a:pos x="2824" y="979"/>
              </a:cxn>
              <a:cxn ang="0">
                <a:pos x="2824" y="1044"/>
              </a:cxn>
              <a:cxn ang="0">
                <a:pos x="2822" y="1069"/>
              </a:cxn>
              <a:cxn ang="0">
                <a:pos x="2816" y="1118"/>
              </a:cxn>
              <a:cxn ang="0">
                <a:pos x="2733" y="1340"/>
              </a:cxn>
              <a:cxn ang="0">
                <a:pos x="2652" y="1454"/>
              </a:cxn>
              <a:cxn ang="0">
                <a:pos x="2441" y="1652"/>
              </a:cxn>
              <a:cxn ang="0">
                <a:pos x="2098" y="1873"/>
              </a:cxn>
              <a:cxn ang="0">
                <a:pos x="1711" y="2073"/>
              </a:cxn>
              <a:cxn ang="0">
                <a:pos x="1382" y="2243"/>
              </a:cxn>
              <a:cxn ang="0">
                <a:pos x="1159" y="2392"/>
              </a:cxn>
              <a:cxn ang="0">
                <a:pos x="1101" y="2445"/>
              </a:cxn>
              <a:cxn ang="0">
                <a:pos x="1018" y="2588"/>
              </a:cxn>
              <a:cxn ang="0">
                <a:pos x="1011" y="2595"/>
              </a:cxn>
              <a:cxn ang="0">
                <a:pos x="983" y="2603"/>
              </a:cxn>
              <a:cxn ang="0">
                <a:pos x="878" y="2622"/>
              </a:cxn>
              <a:cxn ang="0">
                <a:pos x="863" y="2626"/>
              </a:cxn>
              <a:cxn ang="0">
                <a:pos x="783" y="2626"/>
              </a:cxn>
              <a:cxn ang="0">
                <a:pos x="769" y="2624"/>
              </a:cxn>
              <a:cxn ang="0">
                <a:pos x="711" y="2616"/>
              </a:cxn>
              <a:cxn ang="0">
                <a:pos x="445" y="2480"/>
              </a:cxn>
              <a:cxn ang="0">
                <a:pos x="299" y="2312"/>
              </a:cxn>
              <a:cxn ang="0">
                <a:pos x="149" y="2020"/>
              </a:cxn>
              <a:cxn ang="0">
                <a:pos x="48" y="1690"/>
              </a:cxn>
              <a:cxn ang="0">
                <a:pos x="4" y="1458"/>
              </a:cxn>
              <a:cxn ang="0">
                <a:pos x="0" y="1449"/>
              </a:cxn>
            </a:cxnLst>
            <a:rect l="0" t="0" r="r" b="b"/>
            <a:pathLst>
              <a:path w="2824" h="2626">
                <a:moveTo>
                  <a:pt x="0" y="1449"/>
                </a:moveTo>
                <a:cubicBezTo>
                  <a:pt x="0" y="966"/>
                  <a:pt x="0" y="483"/>
                  <a:pt x="0" y="0"/>
                </a:cubicBezTo>
                <a:cubicBezTo>
                  <a:pt x="738" y="0"/>
                  <a:pt x="1477" y="0"/>
                  <a:pt x="2215" y="0"/>
                </a:cubicBezTo>
                <a:cubicBezTo>
                  <a:pt x="2219" y="6"/>
                  <a:pt x="2224" y="9"/>
                  <a:pt x="2229" y="14"/>
                </a:cubicBezTo>
                <a:cubicBezTo>
                  <a:pt x="2319" y="100"/>
                  <a:pt x="2407" y="188"/>
                  <a:pt x="2486" y="284"/>
                </a:cubicBezTo>
                <a:cubicBezTo>
                  <a:pt x="2563" y="375"/>
                  <a:pt x="2635" y="471"/>
                  <a:pt x="2694" y="575"/>
                </a:cubicBezTo>
                <a:cubicBezTo>
                  <a:pt x="2744" y="663"/>
                  <a:pt x="2784" y="756"/>
                  <a:pt x="2806" y="855"/>
                </a:cubicBezTo>
                <a:cubicBezTo>
                  <a:pt x="2816" y="896"/>
                  <a:pt x="2821" y="937"/>
                  <a:pt x="2824" y="979"/>
                </a:cubicBezTo>
                <a:cubicBezTo>
                  <a:pt x="2824" y="1001"/>
                  <a:pt x="2824" y="1022"/>
                  <a:pt x="2824" y="1044"/>
                </a:cubicBezTo>
                <a:cubicBezTo>
                  <a:pt x="2824" y="1052"/>
                  <a:pt x="2820" y="1060"/>
                  <a:pt x="2822" y="1069"/>
                </a:cubicBezTo>
                <a:cubicBezTo>
                  <a:pt x="2821" y="1085"/>
                  <a:pt x="2819" y="1102"/>
                  <a:pt x="2816" y="1118"/>
                </a:cubicBezTo>
                <a:cubicBezTo>
                  <a:pt x="2802" y="1197"/>
                  <a:pt x="2773" y="1271"/>
                  <a:pt x="2733" y="1340"/>
                </a:cubicBezTo>
                <a:cubicBezTo>
                  <a:pt x="2709" y="1381"/>
                  <a:pt x="2682" y="1418"/>
                  <a:pt x="2652" y="1454"/>
                </a:cubicBezTo>
                <a:cubicBezTo>
                  <a:pt x="2590" y="1529"/>
                  <a:pt x="2518" y="1593"/>
                  <a:pt x="2441" y="1652"/>
                </a:cubicBezTo>
                <a:cubicBezTo>
                  <a:pt x="2333" y="1735"/>
                  <a:pt x="2217" y="1806"/>
                  <a:pt x="2098" y="1873"/>
                </a:cubicBezTo>
                <a:cubicBezTo>
                  <a:pt x="1972" y="1944"/>
                  <a:pt x="1841" y="2008"/>
                  <a:pt x="1711" y="2073"/>
                </a:cubicBezTo>
                <a:cubicBezTo>
                  <a:pt x="1600" y="2128"/>
                  <a:pt x="1490" y="2182"/>
                  <a:pt x="1382" y="2243"/>
                </a:cubicBezTo>
                <a:cubicBezTo>
                  <a:pt x="1304" y="2287"/>
                  <a:pt x="1227" y="2333"/>
                  <a:pt x="1159" y="2392"/>
                </a:cubicBezTo>
                <a:cubicBezTo>
                  <a:pt x="1139" y="2409"/>
                  <a:pt x="1119" y="2426"/>
                  <a:pt x="1101" y="2445"/>
                </a:cubicBezTo>
                <a:cubicBezTo>
                  <a:pt x="1062" y="2487"/>
                  <a:pt x="1030" y="2532"/>
                  <a:pt x="1018" y="2588"/>
                </a:cubicBezTo>
                <a:cubicBezTo>
                  <a:pt x="1017" y="2593"/>
                  <a:pt x="1014" y="2594"/>
                  <a:pt x="1011" y="2595"/>
                </a:cubicBezTo>
                <a:cubicBezTo>
                  <a:pt x="1001" y="2598"/>
                  <a:pt x="992" y="2601"/>
                  <a:pt x="983" y="2603"/>
                </a:cubicBezTo>
                <a:cubicBezTo>
                  <a:pt x="948" y="2612"/>
                  <a:pt x="913" y="2618"/>
                  <a:pt x="878" y="2622"/>
                </a:cubicBezTo>
                <a:cubicBezTo>
                  <a:pt x="873" y="2623"/>
                  <a:pt x="867" y="2621"/>
                  <a:pt x="863" y="2626"/>
                </a:cubicBezTo>
                <a:cubicBezTo>
                  <a:pt x="836" y="2626"/>
                  <a:pt x="810" y="2626"/>
                  <a:pt x="783" y="2626"/>
                </a:cubicBezTo>
                <a:cubicBezTo>
                  <a:pt x="778" y="2624"/>
                  <a:pt x="774" y="2624"/>
                  <a:pt x="769" y="2624"/>
                </a:cubicBezTo>
                <a:cubicBezTo>
                  <a:pt x="750" y="2622"/>
                  <a:pt x="730" y="2619"/>
                  <a:pt x="711" y="2616"/>
                </a:cubicBezTo>
                <a:cubicBezTo>
                  <a:pt x="609" y="2596"/>
                  <a:pt x="522" y="2548"/>
                  <a:pt x="445" y="2480"/>
                </a:cubicBezTo>
                <a:cubicBezTo>
                  <a:pt x="388" y="2431"/>
                  <a:pt x="341" y="2373"/>
                  <a:pt x="299" y="2312"/>
                </a:cubicBezTo>
                <a:cubicBezTo>
                  <a:pt x="237" y="2220"/>
                  <a:pt x="190" y="2122"/>
                  <a:pt x="149" y="2020"/>
                </a:cubicBezTo>
                <a:cubicBezTo>
                  <a:pt x="107" y="1913"/>
                  <a:pt x="74" y="1802"/>
                  <a:pt x="48" y="1690"/>
                </a:cubicBezTo>
                <a:cubicBezTo>
                  <a:pt x="30" y="1614"/>
                  <a:pt x="14" y="1536"/>
                  <a:pt x="4" y="1458"/>
                </a:cubicBezTo>
                <a:cubicBezTo>
                  <a:pt x="3" y="1455"/>
                  <a:pt x="3" y="1451"/>
                  <a:pt x="0" y="1449"/>
                </a:cubicBezTo>
                <a:close/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78854" name="Freeform 6"/>
          <p:cNvSpPr>
            <a:spLocks/>
          </p:cNvSpPr>
          <p:nvPr userDrawn="1"/>
        </p:nvSpPr>
        <p:spPr bwMode="auto">
          <a:xfrm>
            <a:off x="10391775" y="2719390"/>
            <a:ext cx="12700" cy="79375"/>
          </a:xfrm>
          <a:custGeom>
            <a:avLst/>
            <a:gdLst/>
            <a:ahLst/>
            <a:cxnLst>
              <a:cxn ang="0">
                <a:pos x="4" y="25"/>
              </a:cxn>
              <a:cxn ang="0">
                <a:pos x="3" y="25"/>
              </a:cxn>
              <a:cxn ang="0">
                <a:pos x="2" y="25"/>
              </a:cxn>
              <a:cxn ang="0">
                <a:pos x="4" y="0"/>
              </a:cxn>
              <a:cxn ang="0">
                <a:pos x="4" y="25"/>
              </a:cxn>
            </a:cxnLst>
            <a:rect l="0" t="0" r="r" b="b"/>
            <a:pathLst>
              <a:path w="4" h="25">
                <a:moveTo>
                  <a:pt x="4" y="25"/>
                </a:moveTo>
                <a:cubicBezTo>
                  <a:pt x="3" y="25"/>
                  <a:pt x="3" y="25"/>
                  <a:pt x="3" y="25"/>
                </a:cubicBezTo>
                <a:cubicBezTo>
                  <a:pt x="2" y="25"/>
                  <a:pt x="2" y="25"/>
                  <a:pt x="2" y="25"/>
                </a:cubicBezTo>
                <a:cubicBezTo>
                  <a:pt x="0" y="16"/>
                  <a:pt x="4" y="8"/>
                  <a:pt x="4" y="0"/>
                </a:cubicBezTo>
                <a:cubicBezTo>
                  <a:pt x="4" y="8"/>
                  <a:pt x="4" y="16"/>
                  <a:pt x="4" y="25"/>
                </a:cubicBezTo>
                <a:close/>
              </a:path>
            </a:pathLst>
          </a:custGeom>
          <a:solidFill>
            <a:srgbClr val="FE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956FD36-565A-4468-BCC4-CB77852669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96201" y="124201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6278310-82AA-4E47-A510-E54DC245FB2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96201" y="5495470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BF327CC-2917-45F5-82B2-75A9F742E63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896201" y="464477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69195DA-4761-45A5-B68F-E20845F04F0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896201" y="3794090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43313FC-7C2A-4C39-A322-E5328A14AED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896201" y="294339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9E896F1-84B5-4E7A-BD88-FFAFED8559E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896201" y="209270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4BCE228-ED61-DC4A-8797-D4217C8EA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1052736"/>
            <a:ext cx="5061343" cy="17670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GB" dirty="0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8C920750-B531-D24A-ACD3-912494A73C0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95064" y="2860901"/>
            <a:ext cx="5060951" cy="2511425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buClr>
                <a:schemeClr val="tx2"/>
              </a:buClr>
              <a:defRPr b="0">
                <a:solidFill>
                  <a:schemeClr val="bg1"/>
                </a:solidFill>
              </a:defRPr>
            </a:lvl3pPr>
            <a:lvl4pPr>
              <a:buClr>
                <a:schemeClr val="tx2"/>
              </a:buClr>
              <a:defRPr b="0">
                <a:solidFill>
                  <a:schemeClr val="bg1"/>
                </a:solidFill>
              </a:defRPr>
            </a:lvl4pPr>
            <a:lvl5pPr>
              <a:buClr>
                <a:schemeClr val="accent4"/>
              </a:buCl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6470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F6711B9-C46D-4D2E-AF8B-AD8E4E534BDD}"/>
              </a:ext>
            </a:extLst>
          </p:cNvPr>
          <p:cNvSpPr/>
          <p:nvPr userDrawn="1"/>
        </p:nvSpPr>
        <p:spPr>
          <a:xfrm>
            <a:off x="335360" y="6339001"/>
            <a:ext cx="3312368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7">
            <a:extLst>
              <a:ext uri="{FF2B5EF4-FFF2-40B4-BE49-F238E27FC236}">
                <a16:creationId xmlns:a16="http://schemas.microsoft.com/office/drawing/2014/main" id="{786803FE-EB28-6C49-BC82-E6A2096C0E86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3971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2"/>
            <a:ext cx="7481888" cy="688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83975" name="Freeform 7"/>
          <p:cNvSpPr>
            <a:spLocks/>
          </p:cNvSpPr>
          <p:nvPr userDrawn="1"/>
        </p:nvSpPr>
        <p:spPr bwMode="auto">
          <a:xfrm>
            <a:off x="1651000" y="5957889"/>
            <a:ext cx="19051" cy="6351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8" y="0"/>
              </a:cxn>
              <a:cxn ang="0">
                <a:pos x="0" y="3"/>
              </a:cxn>
            </a:cxnLst>
            <a:rect l="0" t="0" r="r" b="b"/>
            <a:pathLst>
              <a:path w="8" h="3">
                <a:moveTo>
                  <a:pt x="0" y="3"/>
                </a:moveTo>
                <a:cubicBezTo>
                  <a:pt x="2" y="2"/>
                  <a:pt x="5" y="1"/>
                  <a:pt x="8" y="0"/>
                </a:cubicBezTo>
                <a:cubicBezTo>
                  <a:pt x="5" y="0"/>
                  <a:pt x="2" y="1"/>
                  <a:pt x="0" y="3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1352" y="2419570"/>
            <a:ext cx="4264593" cy="206357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27351" y="566057"/>
            <a:ext cx="4257564" cy="17670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GB" dirty="0"/>
          </a:p>
        </p:txBody>
      </p:sp>
      <p:sp>
        <p:nvSpPr>
          <p:cNvPr id="15" name="Picture Placeholder 17">
            <a:extLst>
              <a:ext uri="{FF2B5EF4-FFF2-40B4-BE49-F238E27FC236}">
                <a16:creationId xmlns:a16="http://schemas.microsoft.com/office/drawing/2014/main" id="{A11CE6B2-56EB-4C86-B1D0-B791937A34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33258" y="-1"/>
            <a:ext cx="7358743" cy="6857999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7E08A85-4ADC-964B-97EE-525CC7BDBF85}"/>
              </a:ext>
            </a:extLst>
          </p:cNvPr>
          <p:cNvSpPr txBox="1">
            <a:spLocks/>
          </p:cNvSpPr>
          <p:nvPr userDrawn="1"/>
        </p:nvSpPr>
        <p:spPr>
          <a:xfrm>
            <a:off x="1502985" y="6639614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Presentation Title | Date</a:t>
            </a:r>
          </a:p>
        </p:txBody>
      </p:sp>
    </p:spTree>
    <p:extLst>
      <p:ext uri="{BB962C8B-B14F-4D97-AF65-F5344CB8AC3E}">
        <p14:creationId xmlns:p14="http://schemas.microsoft.com/office/powerpoint/2010/main" val="35752273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8595375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Freeform: Shape 8">
            <a:extLst>
              <a:ext uri="{FF2B5EF4-FFF2-40B4-BE49-F238E27FC236}">
                <a16:creationId xmlns:a16="http://schemas.microsoft.com/office/drawing/2014/main" id="{45848EA7-8D7C-4A7B-9182-7C1202EDBFB1}"/>
              </a:ext>
            </a:extLst>
          </p:cNvPr>
          <p:cNvSpPr/>
          <p:nvPr userDrawn="1"/>
        </p:nvSpPr>
        <p:spPr>
          <a:xfrm>
            <a:off x="5735960" y="1104901"/>
            <a:ext cx="6456041" cy="5753101"/>
          </a:xfrm>
          <a:custGeom>
            <a:avLst/>
            <a:gdLst>
              <a:gd name="connsiteX0" fmla="*/ 4389354 w 6641878"/>
              <a:gd name="connsiteY0" fmla="*/ 775 h 6125027"/>
              <a:gd name="connsiteX1" fmla="*/ 6309188 w 6641878"/>
              <a:gd name="connsiteY1" fmla="*/ 158122 h 6125027"/>
              <a:gd name="connsiteX2" fmla="*/ 6641878 w 6641878"/>
              <a:gd name="connsiteY2" fmla="*/ 218708 h 6125027"/>
              <a:gd name="connsiteX3" fmla="*/ 6641878 w 6641878"/>
              <a:gd name="connsiteY3" fmla="*/ 6125027 h 6125027"/>
              <a:gd name="connsiteX4" fmla="*/ 0 w 6641878"/>
              <a:gd name="connsiteY4" fmla="*/ 6125027 h 6125027"/>
              <a:gd name="connsiteX5" fmla="*/ 90624 w 6641878"/>
              <a:gd name="connsiteY5" fmla="*/ 5875088 h 6125027"/>
              <a:gd name="connsiteX6" fmla="*/ 3403890 w 6641878"/>
              <a:gd name="connsiteY6" fmla="*/ 22965 h 6125027"/>
              <a:gd name="connsiteX7" fmla="*/ 4389354 w 6641878"/>
              <a:gd name="connsiteY7" fmla="*/ 775 h 6125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1878" h="6125027">
                <a:moveTo>
                  <a:pt x="4389354" y="775"/>
                </a:moveTo>
                <a:cubicBezTo>
                  <a:pt x="5042595" y="7500"/>
                  <a:pt x="5686424" y="58155"/>
                  <a:pt x="6309188" y="158122"/>
                </a:cubicBezTo>
                <a:lnTo>
                  <a:pt x="6641878" y="218708"/>
                </a:lnTo>
                <a:lnTo>
                  <a:pt x="6641878" y="6125027"/>
                </a:lnTo>
                <a:lnTo>
                  <a:pt x="0" y="6125027"/>
                </a:lnTo>
                <a:lnTo>
                  <a:pt x="90624" y="5875088"/>
                </a:lnTo>
                <a:cubicBezTo>
                  <a:pt x="963229" y="3633055"/>
                  <a:pt x="2980348" y="1576261"/>
                  <a:pt x="3403890" y="22965"/>
                </a:cubicBezTo>
                <a:cubicBezTo>
                  <a:pt x="3733760" y="5034"/>
                  <a:pt x="4062734" y="-2587"/>
                  <a:pt x="4389354" y="77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351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B223EFB8-88D3-4227-B238-464A474B85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44701" y="3913792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85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74C953F-F6D9-4EEF-A914-7C47201B55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44701" y="5111407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85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C26CB88-1502-4963-9C3F-B1DA179217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44701" y="2611604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85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4E8646B-8451-4052-9B50-DB60E346C8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10764" y="3878263"/>
            <a:ext cx="4169465" cy="1459051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ct val="85000"/>
              </a:lnSpc>
              <a:defRPr sz="16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A06380E9-5885-470D-9428-A5F69B3262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35328" y="2742307"/>
            <a:ext cx="3644899" cy="974725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ct val="85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227350" y="1148607"/>
            <a:ext cx="8595375" cy="504056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0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8323" y="6650663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70996" y="6650662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800" dirty="0">
                <a:solidFill>
                  <a:schemeClr val="bg1"/>
                </a:solidFill>
              </a:rPr>
              <a:t>© Capgemini 2020. All rights reserved |</a:t>
            </a:r>
          </a:p>
        </p:txBody>
      </p:sp>
    </p:spTree>
    <p:extLst>
      <p:ext uri="{BB962C8B-B14F-4D97-AF65-F5344CB8AC3E}">
        <p14:creationId xmlns:p14="http://schemas.microsoft.com/office/powerpoint/2010/main" val="25453092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41D6DB5-EE06-4950-9CAA-12F4A32E7195}"/>
              </a:ext>
            </a:extLst>
          </p:cNvPr>
          <p:cNvSpPr/>
          <p:nvPr userDrawn="1"/>
        </p:nvSpPr>
        <p:spPr>
          <a:xfrm>
            <a:off x="0" y="0"/>
            <a:ext cx="12192000" cy="6945970"/>
          </a:xfrm>
          <a:prstGeom prst="rect">
            <a:avLst/>
          </a:prstGeom>
          <a:gradFill flip="none" rotWithShape="1">
            <a:gsLst>
              <a:gs pos="0">
                <a:srgbClr val="E6E8E7"/>
              </a:gs>
              <a:gs pos="62000">
                <a:srgbClr val="F3F3F3"/>
              </a:gs>
              <a:gs pos="100000">
                <a:srgbClr val="F3F3F3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15A716B0-2A13-42F7-8917-6DEE54B796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390883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79388" indent="-1793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defRPr sz="1800">
                <a:solidFill>
                  <a:schemeClr val="tx1"/>
                </a:solidFill>
              </a:defRPr>
            </a:lvl2pPr>
            <a:lvl3pPr marL="395288" indent="-1793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defRPr sz="1600">
                <a:solidFill>
                  <a:schemeClr val="tx1"/>
                </a:solidFill>
              </a:defRPr>
            </a:lvl3pPr>
            <a:lvl4pPr marL="627063" indent="-1793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defRPr sz="1600">
                <a:solidFill>
                  <a:schemeClr val="tx1"/>
                </a:solidFill>
              </a:defRPr>
            </a:lvl4pPr>
            <a:lvl5pPr marL="860425" indent="-1793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8" name="Picture 2" descr="Image result for laptop png images">
            <a:extLst>
              <a:ext uri="{FF2B5EF4-FFF2-40B4-BE49-F238E27FC236}">
                <a16:creationId xmlns:a16="http://schemas.microsoft.com/office/drawing/2014/main" id="{48F37EE8-2B20-49C9-A495-765A45E88B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5547" y="1821724"/>
            <a:ext cx="6692302" cy="3838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E776FC3-6FD9-4E60-AB17-F48807A7BA92}"/>
              </a:ext>
            </a:extLst>
          </p:cNvPr>
          <p:cNvSpPr/>
          <p:nvPr userDrawn="1"/>
        </p:nvSpPr>
        <p:spPr>
          <a:xfrm>
            <a:off x="6344258" y="1988840"/>
            <a:ext cx="4754880" cy="301752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NSERT IMAGE</a:t>
            </a:r>
          </a:p>
        </p:txBody>
      </p:sp>
      <p:sp>
        <p:nvSpPr>
          <p:cNvPr id="30" name="Retângulo 43">
            <a:extLst>
              <a:ext uri="{FF2B5EF4-FFF2-40B4-BE49-F238E27FC236}">
                <a16:creationId xmlns:a16="http://schemas.microsoft.com/office/drawing/2014/main" id="{1A9AFBC7-DDA5-4BB0-8444-9E64AB058786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099F48DD-BF4D-4A84-953B-25BC9E656158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</a:rPr>
              <a:t>© Capgemini 2020. All rights reserved  |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0D164D09-E6BC-4E9F-931B-682F0C4990A0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Presentation Title | Date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BE5F7616-973A-4137-97A9-BC3F27F1DB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0"/>
            <a:ext cx="10549171" cy="1104900"/>
          </a:xfrm>
          <a:prstGeom prst="rect">
            <a:avLst/>
          </a:prstGeom>
        </p:spPr>
        <p:txBody>
          <a:bodyPr anchor="ctr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86E5A21-8631-471A-9FAF-42C6E52D7F2D}"/>
              </a:ext>
            </a:extLst>
          </p:cNvPr>
          <p:cNvGrpSpPr/>
          <p:nvPr userDrawn="1"/>
        </p:nvGrpSpPr>
        <p:grpSpPr>
          <a:xfrm>
            <a:off x="10848528" y="332656"/>
            <a:ext cx="956632" cy="293963"/>
            <a:chOff x="10704512" y="188640"/>
            <a:chExt cx="1265868" cy="388988"/>
          </a:xfrm>
        </p:grpSpPr>
        <p:grpSp>
          <p:nvGrpSpPr>
            <p:cNvPr id="51" name="Groupe 1">
              <a:extLst>
                <a:ext uri="{FF2B5EF4-FFF2-40B4-BE49-F238E27FC236}">
                  <a16:creationId xmlns:a16="http://schemas.microsoft.com/office/drawing/2014/main" id="{F676E67D-23B4-4575-870F-450E4A50CF2A}"/>
                </a:ext>
              </a:extLst>
            </p:cNvPr>
            <p:cNvGrpSpPr/>
            <p:nvPr userDrawn="1"/>
          </p:nvGrpSpPr>
          <p:grpSpPr>
            <a:xfrm>
              <a:off x="10704512" y="188640"/>
              <a:ext cx="419436" cy="388988"/>
              <a:chOff x="11501102" y="171573"/>
              <a:chExt cx="419436" cy="388988"/>
            </a:xfrm>
          </p:grpSpPr>
          <p:sp>
            <p:nvSpPr>
              <p:cNvPr id="53" name="Freeform 13">
                <a:extLst>
                  <a:ext uri="{FF2B5EF4-FFF2-40B4-BE49-F238E27FC236}">
                    <a16:creationId xmlns:a16="http://schemas.microsoft.com/office/drawing/2014/main" id="{00EEEA4D-2A40-4B22-A865-0238D1742D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644642" y="334376"/>
                <a:ext cx="275896" cy="226185"/>
              </a:xfrm>
              <a:custGeom>
                <a:avLst/>
                <a:gdLst/>
                <a:ahLst/>
                <a:cxnLst>
                  <a:cxn ang="0">
                    <a:pos x="125" y="107"/>
                  </a:cxn>
                  <a:cxn ang="0">
                    <a:pos x="188" y="43"/>
                  </a:cxn>
                  <a:cxn ang="0">
                    <a:pos x="141" y="0"/>
                  </a:cxn>
                  <a:cxn ang="0">
                    <a:pos x="49" y="99"/>
                  </a:cxn>
                  <a:cxn ang="0">
                    <a:pos x="0" y="144"/>
                  </a:cxn>
                  <a:cxn ang="0">
                    <a:pos x="37" y="154"/>
                  </a:cxn>
                  <a:cxn ang="0">
                    <a:pos x="125" y="125"/>
                  </a:cxn>
                  <a:cxn ang="0">
                    <a:pos x="81" y="86"/>
                  </a:cxn>
                  <a:cxn ang="0">
                    <a:pos x="125" y="107"/>
                  </a:cxn>
                </a:cxnLst>
                <a:rect l="0" t="0" r="r" b="b"/>
                <a:pathLst>
                  <a:path w="188" h="154">
                    <a:moveTo>
                      <a:pt x="125" y="107"/>
                    </a:moveTo>
                    <a:cubicBezTo>
                      <a:pt x="160" y="107"/>
                      <a:pt x="188" y="78"/>
                      <a:pt x="188" y="43"/>
                    </a:cubicBezTo>
                    <a:cubicBezTo>
                      <a:pt x="186" y="28"/>
                      <a:pt x="181" y="0"/>
                      <a:pt x="141" y="0"/>
                    </a:cubicBezTo>
                    <a:cubicBezTo>
                      <a:pt x="99" y="0"/>
                      <a:pt x="84" y="60"/>
                      <a:pt x="49" y="99"/>
                    </a:cubicBezTo>
                    <a:cubicBezTo>
                      <a:pt x="47" y="121"/>
                      <a:pt x="26" y="140"/>
                      <a:pt x="0" y="144"/>
                    </a:cubicBezTo>
                    <a:cubicBezTo>
                      <a:pt x="6" y="150"/>
                      <a:pt x="20" y="154"/>
                      <a:pt x="37" y="154"/>
                    </a:cubicBezTo>
                    <a:cubicBezTo>
                      <a:pt x="68" y="154"/>
                      <a:pt x="106" y="145"/>
                      <a:pt x="125" y="125"/>
                    </a:cubicBezTo>
                    <a:cubicBezTo>
                      <a:pt x="99" y="126"/>
                      <a:pt x="82" y="109"/>
                      <a:pt x="81" y="86"/>
                    </a:cubicBezTo>
                    <a:cubicBezTo>
                      <a:pt x="93" y="101"/>
                      <a:pt x="108" y="107"/>
                      <a:pt x="125" y="107"/>
                    </a:cubicBezTo>
                  </a:path>
                </a:pathLst>
              </a:custGeom>
              <a:solidFill>
                <a:srgbClr val="12ABD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Freeform 14">
                <a:extLst>
                  <a:ext uri="{FF2B5EF4-FFF2-40B4-BE49-F238E27FC236}">
                    <a16:creationId xmlns:a16="http://schemas.microsoft.com/office/drawing/2014/main" id="{A925E780-F9F4-4231-8AD6-6F34CDF6A4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501102" y="171573"/>
                <a:ext cx="419436" cy="356676"/>
              </a:xfrm>
              <a:custGeom>
                <a:avLst/>
                <a:gdLst/>
                <a:ahLst/>
                <a:cxnLst>
                  <a:cxn ang="0">
                    <a:pos x="286" y="152"/>
                  </a:cxn>
                  <a:cxn ang="0">
                    <a:pos x="237" y="51"/>
                  </a:cxn>
                  <a:cxn ang="0">
                    <a:pos x="160" y="3"/>
                  </a:cxn>
                  <a:cxn ang="0">
                    <a:pos x="153" y="0"/>
                  </a:cxn>
                  <a:cxn ang="0">
                    <a:pos x="153" y="0"/>
                  </a:cxn>
                  <a:cxn ang="0">
                    <a:pos x="0" y="158"/>
                  </a:cxn>
                  <a:cxn ang="0">
                    <a:pos x="53" y="236"/>
                  </a:cxn>
                  <a:cxn ang="0">
                    <a:pos x="107" y="237"/>
                  </a:cxn>
                  <a:cxn ang="0">
                    <a:pos x="147" y="210"/>
                  </a:cxn>
                  <a:cxn ang="0">
                    <a:pos x="239" y="111"/>
                  </a:cxn>
                  <a:cxn ang="0">
                    <a:pos x="286" y="154"/>
                  </a:cxn>
                  <a:cxn ang="0">
                    <a:pos x="286" y="152"/>
                  </a:cxn>
                </a:cxnLst>
                <a:rect l="0" t="0" r="r" b="b"/>
                <a:pathLst>
                  <a:path w="286" h="243">
                    <a:moveTo>
                      <a:pt x="286" y="152"/>
                    </a:moveTo>
                    <a:cubicBezTo>
                      <a:pt x="286" y="112"/>
                      <a:pt x="266" y="78"/>
                      <a:pt x="237" y="51"/>
                    </a:cubicBezTo>
                    <a:cubicBezTo>
                      <a:pt x="215" y="30"/>
                      <a:pt x="188" y="15"/>
                      <a:pt x="160" y="3"/>
                    </a:cubicBezTo>
                    <a:cubicBezTo>
                      <a:pt x="158" y="2"/>
                      <a:pt x="156" y="1"/>
                      <a:pt x="153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19" y="41"/>
                      <a:pt x="0" y="72"/>
                      <a:pt x="0" y="158"/>
                    </a:cubicBezTo>
                    <a:cubicBezTo>
                      <a:pt x="0" y="192"/>
                      <a:pt x="21" y="224"/>
                      <a:pt x="53" y="236"/>
                    </a:cubicBezTo>
                    <a:cubicBezTo>
                      <a:pt x="71" y="243"/>
                      <a:pt x="89" y="243"/>
                      <a:pt x="107" y="237"/>
                    </a:cubicBezTo>
                    <a:cubicBezTo>
                      <a:pt x="123" y="232"/>
                      <a:pt x="136" y="222"/>
                      <a:pt x="147" y="210"/>
                    </a:cubicBezTo>
                    <a:cubicBezTo>
                      <a:pt x="182" y="171"/>
                      <a:pt x="197" y="111"/>
                      <a:pt x="239" y="111"/>
                    </a:cubicBezTo>
                    <a:cubicBezTo>
                      <a:pt x="279" y="111"/>
                      <a:pt x="284" y="139"/>
                      <a:pt x="286" y="154"/>
                    </a:cubicBezTo>
                    <a:cubicBezTo>
                      <a:pt x="286" y="154"/>
                      <a:pt x="286" y="153"/>
                      <a:pt x="286" y="152"/>
                    </a:cubicBezTo>
                  </a:path>
                </a:pathLst>
              </a:custGeom>
              <a:solidFill>
                <a:srgbClr val="0070A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2" name="Freeform 33">
              <a:extLst>
                <a:ext uri="{FF2B5EF4-FFF2-40B4-BE49-F238E27FC236}">
                  <a16:creationId xmlns:a16="http://schemas.microsoft.com/office/drawing/2014/main" id="{7E146878-E298-42E3-945B-8A9F40F0D2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93043" y="211794"/>
              <a:ext cx="377337" cy="333459"/>
            </a:xfrm>
            <a:custGeom>
              <a:avLst/>
              <a:gdLst>
                <a:gd name="connsiteX0" fmla="*/ 242180 w 333452"/>
                <a:gd name="connsiteY0" fmla="*/ 21015 h 294678"/>
                <a:gd name="connsiteX1" fmla="*/ 294756 w 333452"/>
                <a:gd name="connsiteY1" fmla="*/ 294679 h 294678"/>
                <a:gd name="connsiteX2" fmla="*/ 336865 w 333452"/>
                <a:gd name="connsiteY2" fmla="*/ 294679 h 294678"/>
                <a:gd name="connsiteX3" fmla="*/ 242102 w 333452"/>
                <a:gd name="connsiteY3" fmla="*/ 0 h 294678"/>
                <a:gd name="connsiteX4" fmla="*/ 168432 w 333452"/>
                <a:gd name="connsiteY4" fmla="*/ 101664 h 294678"/>
                <a:gd name="connsiteX5" fmla="*/ 94763 w 333452"/>
                <a:gd name="connsiteY5" fmla="*/ 0 h 294678"/>
                <a:gd name="connsiteX6" fmla="*/ 0 w 333452"/>
                <a:gd name="connsiteY6" fmla="*/ 294679 h 294678"/>
                <a:gd name="connsiteX7" fmla="*/ 42108 w 333452"/>
                <a:gd name="connsiteY7" fmla="*/ 294679 h 294678"/>
                <a:gd name="connsiteX8" fmla="*/ 94763 w 333452"/>
                <a:gd name="connsiteY8" fmla="*/ 21015 h 294678"/>
                <a:gd name="connsiteX9" fmla="*/ 147417 w 333452"/>
                <a:gd name="connsiteY9" fmla="*/ 273664 h 294678"/>
                <a:gd name="connsiteX10" fmla="*/ 189525 w 333452"/>
                <a:gd name="connsiteY10" fmla="*/ 273664 h 294678"/>
                <a:gd name="connsiteX11" fmla="*/ 242180 w 333452"/>
                <a:gd name="connsiteY11" fmla="*/ 21015 h 294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3452" h="294678">
                  <a:moveTo>
                    <a:pt x="242180" y="21015"/>
                  </a:moveTo>
                  <a:cubicBezTo>
                    <a:pt x="271492" y="21015"/>
                    <a:pt x="294756" y="143850"/>
                    <a:pt x="294756" y="294679"/>
                  </a:cubicBezTo>
                  <a:lnTo>
                    <a:pt x="336865" y="294679"/>
                  </a:lnTo>
                  <a:cubicBezTo>
                    <a:pt x="336865" y="131830"/>
                    <a:pt x="294446" y="0"/>
                    <a:pt x="242102" y="0"/>
                  </a:cubicBezTo>
                  <a:cubicBezTo>
                    <a:pt x="212324" y="0"/>
                    <a:pt x="185803" y="39627"/>
                    <a:pt x="168432" y="101664"/>
                  </a:cubicBezTo>
                  <a:cubicBezTo>
                    <a:pt x="151062" y="39627"/>
                    <a:pt x="124463" y="0"/>
                    <a:pt x="94763" y="0"/>
                  </a:cubicBezTo>
                  <a:cubicBezTo>
                    <a:pt x="42418" y="0"/>
                    <a:pt x="0" y="131830"/>
                    <a:pt x="0" y="294679"/>
                  </a:cubicBezTo>
                  <a:lnTo>
                    <a:pt x="42108" y="294679"/>
                  </a:lnTo>
                  <a:cubicBezTo>
                    <a:pt x="42108" y="143540"/>
                    <a:pt x="65372" y="21015"/>
                    <a:pt x="94763" y="21015"/>
                  </a:cubicBezTo>
                  <a:cubicBezTo>
                    <a:pt x="124153" y="21015"/>
                    <a:pt x="147417" y="134156"/>
                    <a:pt x="147417" y="273664"/>
                  </a:cubicBezTo>
                  <a:lnTo>
                    <a:pt x="189525" y="273664"/>
                  </a:lnTo>
                  <a:cubicBezTo>
                    <a:pt x="189525" y="134079"/>
                    <a:pt x="212789" y="21015"/>
                    <a:pt x="242180" y="21015"/>
                  </a:cubicBezTo>
                </a:path>
              </a:pathLst>
            </a:custGeom>
            <a:solidFill>
              <a:srgbClr val="FFBC0D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 dirty="0">
                <a:solidFill>
                  <a:schemeClr val="tx1"/>
                </a:solidFill>
              </a:endParaRPr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5FE53A2B-978B-48D8-9C74-A7F23B1FDB62}"/>
              </a:ext>
            </a:extLst>
          </p:cNvPr>
          <p:cNvSpPr txBox="1"/>
          <p:nvPr userDrawn="1"/>
        </p:nvSpPr>
        <p:spPr>
          <a:xfrm>
            <a:off x="11145050" y="371915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5259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hand holding a cellphone&#10;&#10;Description automatically generated">
            <a:extLst>
              <a:ext uri="{FF2B5EF4-FFF2-40B4-BE49-F238E27FC236}">
                <a16:creationId xmlns:a16="http://schemas.microsoft.com/office/drawing/2014/main" id="{251C05A8-94E0-40B3-8B2A-ED96D86D8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7461" r="33906" b="16788"/>
          <a:stretch/>
        </p:blipFill>
        <p:spPr>
          <a:xfrm>
            <a:off x="6070577" y="-43986"/>
            <a:ext cx="6153149" cy="694597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41D6DB5-EE06-4950-9CAA-12F4A32E7195}"/>
              </a:ext>
            </a:extLst>
          </p:cNvPr>
          <p:cNvSpPr/>
          <p:nvPr userDrawn="1"/>
        </p:nvSpPr>
        <p:spPr>
          <a:xfrm>
            <a:off x="-25423" y="-71697"/>
            <a:ext cx="12192000" cy="6945970"/>
          </a:xfrm>
          <a:prstGeom prst="rect">
            <a:avLst/>
          </a:prstGeom>
          <a:gradFill flip="none" rotWithShape="1">
            <a:gsLst>
              <a:gs pos="0">
                <a:srgbClr val="E6E8E7"/>
              </a:gs>
              <a:gs pos="62000">
                <a:srgbClr val="F3F3F3"/>
              </a:gs>
              <a:gs pos="100000">
                <a:srgbClr val="F3F3F3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15A716B0-2A13-42F7-8917-6DEE54B796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8001" y="1821724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79388" indent="-1793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defRPr sz="1800">
                <a:solidFill>
                  <a:schemeClr val="tx1"/>
                </a:solidFill>
              </a:defRPr>
            </a:lvl2pPr>
            <a:lvl3pPr marL="395288" indent="-1793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defRPr sz="1600">
                <a:solidFill>
                  <a:schemeClr val="tx1"/>
                </a:solidFill>
              </a:defRPr>
            </a:lvl3pPr>
            <a:lvl4pPr marL="627063" indent="-1793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defRPr sz="1600">
                <a:solidFill>
                  <a:schemeClr val="tx1"/>
                </a:solidFill>
              </a:defRPr>
            </a:lvl4pPr>
            <a:lvl5pPr marL="860425" indent="-1793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2" name="Retângulo 43">
            <a:extLst>
              <a:ext uri="{FF2B5EF4-FFF2-40B4-BE49-F238E27FC236}">
                <a16:creationId xmlns:a16="http://schemas.microsoft.com/office/drawing/2014/main" id="{59D314B0-31CA-4D2F-BDBC-32DE431CEEC9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201753E5-E490-4419-8FFA-1199D9F22061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</a:rPr>
              <a:t>© Capgemini 2020. All rights reserved  |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526ECFA6-CC06-4035-85BD-2E5363E8AC83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Presentation Title | Dat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41E414E-8392-4483-91F6-572BDC9B00AB}"/>
              </a:ext>
            </a:extLst>
          </p:cNvPr>
          <p:cNvSpPr/>
          <p:nvPr userDrawn="1"/>
        </p:nvSpPr>
        <p:spPr>
          <a:xfrm>
            <a:off x="10056440" y="1628800"/>
            <a:ext cx="1271016" cy="1673352"/>
          </a:xfrm>
          <a:prstGeom prst="rect">
            <a:avLst/>
          </a:prstGeom>
          <a:gradFill flip="none" rotWithShape="1">
            <a:gsLst>
              <a:gs pos="100000">
                <a:srgbClr val="DDDCDA">
                  <a:alpha val="94000"/>
                </a:srgbClr>
              </a:gs>
              <a:gs pos="0">
                <a:srgbClr val="DDDCDA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itle 1">
            <a:extLst>
              <a:ext uri="{FF2B5EF4-FFF2-40B4-BE49-F238E27FC236}">
                <a16:creationId xmlns:a16="http://schemas.microsoft.com/office/drawing/2014/main" id="{39B02A64-BDB5-4674-9AA3-3A76998C5E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0"/>
            <a:ext cx="10549171" cy="1104900"/>
          </a:xfrm>
          <a:prstGeom prst="rect">
            <a:avLst/>
          </a:prstGeom>
        </p:spPr>
        <p:txBody>
          <a:bodyPr anchor="ctr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97D81353-A1C9-4569-8675-328E1B8ECE46}"/>
              </a:ext>
            </a:extLst>
          </p:cNvPr>
          <p:cNvGrpSpPr/>
          <p:nvPr userDrawn="1"/>
        </p:nvGrpSpPr>
        <p:grpSpPr>
          <a:xfrm>
            <a:off x="10848528" y="332656"/>
            <a:ext cx="956632" cy="293963"/>
            <a:chOff x="10704512" y="188640"/>
            <a:chExt cx="1265868" cy="388988"/>
          </a:xfrm>
        </p:grpSpPr>
        <p:grpSp>
          <p:nvGrpSpPr>
            <p:cNvPr id="65" name="Groupe 1">
              <a:extLst>
                <a:ext uri="{FF2B5EF4-FFF2-40B4-BE49-F238E27FC236}">
                  <a16:creationId xmlns:a16="http://schemas.microsoft.com/office/drawing/2014/main" id="{C41FAC73-819C-47E6-8C7A-5985F30363CF}"/>
                </a:ext>
              </a:extLst>
            </p:cNvPr>
            <p:cNvGrpSpPr/>
            <p:nvPr userDrawn="1"/>
          </p:nvGrpSpPr>
          <p:grpSpPr>
            <a:xfrm>
              <a:off x="10704512" y="188640"/>
              <a:ext cx="419436" cy="388988"/>
              <a:chOff x="11501102" y="171573"/>
              <a:chExt cx="419436" cy="388988"/>
            </a:xfrm>
          </p:grpSpPr>
          <p:sp>
            <p:nvSpPr>
              <p:cNvPr id="67" name="Freeform 13">
                <a:extLst>
                  <a:ext uri="{FF2B5EF4-FFF2-40B4-BE49-F238E27FC236}">
                    <a16:creationId xmlns:a16="http://schemas.microsoft.com/office/drawing/2014/main" id="{DB71DAD8-237D-48E6-804C-72E21E847E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644642" y="334376"/>
                <a:ext cx="275896" cy="226185"/>
              </a:xfrm>
              <a:custGeom>
                <a:avLst/>
                <a:gdLst/>
                <a:ahLst/>
                <a:cxnLst>
                  <a:cxn ang="0">
                    <a:pos x="125" y="107"/>
                  </a:cxn>
                  <a:cxn ang="0">
                    <a:pos x="188" y="43"/>
                  </a:cxn>
                  <a:cxn ang="0">
                    <a:pos x="141" y="0"/>
                  </a:cxn>
                  <a:cxn ang="0">
                    <a:pos x="49" y="99"/>
                  </a:cxn>
                  <a:cxn ang="0">
                    <a:pos x="0" y="144"/>
                  </a:cxn>
                  <a:cxn ang="0">
                    <a:pos x="37" y="154"/>
                  </a:cxn>
                  <a:cxn ang="0">
                    <a:pos x="125" y="125"/>
                  </a:cxn>
                  <a:cxn ang="0">
                    <a:pos x="81" y="86"/>
                  </a:cxn>
                  <a:cxn ang="0">
                    <a:pos x="125" y="107"/>
                  </a:cxn>
                </a:cxnLst>
                <a:rect l="0" t="0" r="r" b="b"/>
                <a:pathLst>
                  <a:path w="188" h="154">
                    <a:moveTo>
                      <a:pt x="125" y="107"/>
                    </a:moveTo>
                    <a:cubicBezTo>
                      <a:pt x="160" y="107"/>
                      <a:pt x="188" y="78"/>
                      <a:pt x="188" y="43"/>
                    </a:cubicBezTo>
                    <a:cubicBezTo>
                      <a:pt x="186" y="28"/>
                      <a:pt x="181" y="0"/>
                      <a:pt x="141" y="0"/>
                    </a:cubicBezTo>
                    <a:cubicBezTo>
                      <a:pt x="99" y="0"/>
                      <a:pt x="84" y="60"/>
                      <a:pt x="49" y="99"/>
                    </a:cubicBezTo>
                    <a:cubicBezTo>
                      <a:pt x="47" y="121"/>
                      <a:pt x="26" y="140"/>
                      <a:pt x="0" y="144"/>
                    </a:cubicBezTo>
                    <a:cubicBezTo>
                      <a:pt x="6" y="150"/>
                      <a:pt x="20" y="154"/>
                      <a:pt x="37" y="154"/>
                    </a:cubicBezTo>
                    <a:cubicBezTo>
                      <a:pt x="68" y="154"/>
                      <a:pt x="106" y="145"/>
                      <a:pt x="125" y="125"/>
                    </a:cubicBezTo>
                    <a:cubicBezTo>
                      <a:pt x="99" y="126"/>
                      <a:pt x="82" y="109"/>
                      <a:pt x="81" y="86"/>
                    </a:cubicBezTo>
                    <a:cubicBezTo>
                      <a:pt x="93" y="101"/>
                      <a:pt x="108" y="107"/>
                      <a:pt x="125" y="107"/>
                    </a:cubicBezTo>
                  </a:path>
                </a:pathLst>
              </a:custGeom>
              <a:solidFill>
                <a:srgbClr val="12ABD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Freeform 14">
                <a:extLst>
                  <a:ext uri="{FF2B5EF4-FFF2-40B4-BE49-F238E27FC236}">
                    <a16:creationId xmlns:a16="http://schemas.microsoft.com/office/drawing/2014/main" id="{EAC9B8F2-C728-45B0-9B29-2BE638F7CC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501102" y="171573"/>
                <a:ext cx="419436" cy="356676"/>
              </a:xfrm>
              <a:custGeom>
                <a:avLst/>
                <a:gdLst/>
                <a:ahLst/>
                <a:cxnLst>
                  <a:cxn ang="0">
                    <a:pos x="286" y="152"/>
                  </a:cxn>
                  <a:cxn ang="0">
                    <a:pos x="237" y="51"/>
                  </a:cxn>
                  <a:cxn ang="0">
                    <a:pos x="160" y="3"/>
                  </a:cxn>
                  <a:cxn ang="0">
                    <a:pos x="153" y="0"/>
                  </a:cxn>
                  <a:cxn ang="0">
                    <a:pos x="153" y="0"/>
                  </a:cxn>
                  <a:cxn ang="0">
                    <a:pos x="0" y="158"/>
                  </a:cxn>
                  <a:cxn ang="0">
                    <a:pos x="53" y="236"/>
                  </a:cxn>
                  <a:cxn ang="0">
                    <a:pos x="107" y="237"/>
                  </a:cxn>
                  <a:cxn ang="0">
                    <a:pos x="147" y="210"/>
                  </a:cxn>
                  <a:cxn ang="0">
                    <a:pos x="239" y="111"/>
                  </a:cxn>
                  <a:cxn ang="0">
                    <a:pos x="286" y="154"/>
                  </a:cxn>
                  <a:cxn ang="0">
                    <a:pos x="286" y="152"/>
                  </a:cxn>
                </a:cxnLst>
                <a:rect l="0" t="0" r="r" b="b"/>
                <a:pathLst>
                  <a:path w="286" h="243">
                    <a:moveTo>
                      <a:pt x="286" y="152"/>
                    </a:moveTo>
                    <a:cubicBezTo>
                      <a:pt x="286" y="112"/>
                      <a:pt x="266" y="78"/>
                      <a:pt x="237" y="51"/>
                    </a:cubicBezTo>
                    <a:cubicBezTo>
                      <a:pt x="215" y="30"/>
                      <a:pt x="188" y="15"/>
                      <a:pt x="160" y="3"/>
                    </a:cubicBezTo>
                    <a:cubicBezTo>
                      <a:pt x="158" y="2"/>
                      <a:pt x="156" y="1"/>
                      <a:pt x="153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19" y="41"/>
                      <a:pt x="0" y="72"/>
                      <a:pt x="0" y="158"/>
                    </a:cubicBezTo>
                    <a:cubicBezTo>
                      <a:pt x="0" y="192"/>
                      <a:pt x="21" y="224"/>
                      <a:pt x="53" y="236"/>
                    </a:cubicBezTo>
                    <a:cubicBezTo>
                      <a:pt x="71" y="243"/>
                      <a:pt x="89" y="243"/>
                      <a:pt x="107" y="237"/>
                    </a:cubicBezTo>
                    <a:cubicBezTo>
                      <a:pt x="123" y="232"/>
                      <a:pt x="136" y="222"/>
                      <a:pt x="147" y="210"/>
                    </a:cubicBezTo>
                    <a:cubicBezTo>
                      <a:pt x="182" y="171"/>
                      <a:pt x="197" y="111"/>
                      <a:pt x="239" y="111"/>
                    </a:cubicBezTo>
                    <a:cubicBezTo>
                      <a:pt x="279" y="111"/>
                      <a:pt x="284" y="139"/>
                      <a:pt x="286" y="154"/>
                    </a:cubicBezTo>
                    <a:cubicBezTo>
                      <a:pt x="286" y="154"/>
                      <a:pt x="286" y="153"/>
                      <a:pt x="286" y="152"/>
                    </a:cubicBezTo>
                  </a:path>
                </a:pathLst>
              </a:custGeom>
              <a:solidFill>
                <a:srgbClr val="0070A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66" name="Freeform 33">
              <a:extLst>
                <a:ext uri="{FF2B5EF4-FFF2-40B4-BE49-F238E27FC236}">
                  <a16:creationId xmlns:a16="http://schemas.microsoft.com/office/drawing/2014/main" id="{AD216AD1-8BD2-4829-8C92-49F3D47F49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93043" y="211794"/>
              <a:ext cx="377337" cy="333459"/>
            </a:xfrm>
            <a:custGeom>
              <a:avLst/>
              <a:gdLst>
                <a:gd name="connsiteX0" fmla="*/ 242180 w 333452"/>
                <a:gd name="connsiteY0" fmla="*/ 21015 h 294678"/>
                <a:gd name="connsiteX1" fmla="*/ 294756 w 333452"/>
                <a:gd name="connsiteY1" fmla="*/ 294679 h 294678"/>
                <a:gd name="connsiteX2" fmla="*/ 336865 w 333452"/>
                <a:gd name="connsiteY2" fmla="*/ 294679 h 294678"/>
                <a:gd name="connsiteX3" fmla="*/ 242102 w 333452"/>
                <a:gd name="connsiteY3" fmla="*/ 0 h 294678"/>
                <a:gd name="connsiteX4" fmla="*/ 168432 w 333452"/>
                <a:gd name="connsiteY4" fmla="*/ 101664 h 294678"/>
                <a:gd name="connsiteX5" fmla="*/ 94763 w 333452"/>
                <a:gd name="connsiteY5" fmla="*/ 0 h 294678"/>
                <a:gd name="connsiteX6" fmla="*/ 0 w 333452"/>
                <a:gd name="connsiteY6" fmla="*/ 294679 h 294678"/>
                <a:gd name="connsiteX7" fmla="*/ 42108 w 333452"/>
                <a:gd name="connsiteY7" fmla="*/ 294679 h 294678"/>
                <a:gd name="connsiteX8" fmla="*/ 94763 w 333452"/>
                <a:gd name="connsiteY8" fmla="*/ 21015 h 294678"/>
                <a:gd name="connsiteX9" fmla="*/ 147417 w 333452"/>
                <a:gd name="connsiteY9" fmla="*/ 273664 h 294678"/>
                <a:gd name="connsiteX10" fmla="*/ 189525 w 333452"/>
                <a:gd name="connsiteY10" fmla="*/ 273664 h 294678"/>
                <a:gd name="connsiteX11" fmla="*/ 242180 w 333452"/>
                <a:gd name="connsiteY11" fmla="*/ 21015 h 294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3452" h="294678">
                  <a:moveTo>
                    <a:pt x="242180" y="21015"/>
                  </a:moveTo>
                  <a:cubicBezTo>
                    <a:pt x="271492" y="21015"/>
                    <a:pt x="294756" y="143850"/>
                    <a:pt x="294756" y="294679"/>
                  </a:cubicBezTo>
                  <a:lnTo>
                    <a:pt x="336865" y="294679"/>
                  </a:lnTo>
                  <a:cubicBezTo>
                    <a:pt x="336865" y="131830"/>
                    <a:pt x="294446" y="0"/>
                    <a:pt x="242102" y="0"/>
                  </a:cubicBezTo>
                  <a:cubicBezTo>
                    <a:pt x="212324" y="0"/>
                    <a:pt x="185803" y="39627"/>
                    <a:pt x="168432" y="101664"/>
                  </a:cubicBezTo>
                  <a:cubicBezTo>
                    <a:pt x="151062" y="39627"/>
                    <a:pt x="124463" y="0"/>
                    <a:pt x="94763" y="0"/>
                  </a:cubicBezTo>
                  <a:cubicBezTo>
                    <a:pt x="42418" y="0"/>
                    <a:pt x="0" y="131830"/>
                    <a:pt x="0" y="294679"/>
                  </a:cubicBezTo>
                  <a:lnTo>
                    <a:pt x="42108" y="294679"/>
                  </a:lnTo>
                  <a:cubicBezTo>
                    <a:pt x="42108" y="143540"/>
                    <a:pt x="65372" y="21015"/>
                    <a:pt x="94763" y="21015"/>
                  </a:cubicBezTo>
                  <a:cubicBezTo>
                    <a:pt x="124153" y="21015"/>
                    <a:pt x="147417" y="134156"/>
                    <a:pt x="147417" y="273664"/>
                  </a:cubicBezTo>
                  <a:lnTo>
                    <a:pt x="189525" y="273664"/>
                  </a:lnTo>
                  <a:cubicBezTo>
                    <a:pt x="189525" y="134079"/>
                    <a:pt x="212789" y="21015"/>
                    <a:pt x="242180" y="21015"/>
                  </a:cubicBezTo>
                </a:path>
              </a:pathLst>
            </a:custGeom>
            <a:solidFill>
              <a:srgbClr val="FFBC0D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 dirty="0">
                <a:solidFill>
                  <a:schemeClr val="tx1"/>
                </a:solidFill>
              </a:endParaRPr>
            </a:p>
          </p:txBody>
        </p:sp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id="{325EDEC6-D317-4A24-8C69-AA0A0AF5B1D3}"/>
              </a:ext>
            </a:extLst>
          </p:cNvPr>
          <p:cNvSpPr txBox="1"/>
          <p:nvPr userDrawn="1"/>
        </p:nvSpPr>
        <p:spPr>
          <a:xfrm>
            <a:off x="11145050" y="371915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354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34355" y="1700808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4355" y="1132503"/>
            <a:ext cx="5400000" cy="56830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1022" y="1132503"/>
            <a:ext cx="5400000" cy="56830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81022" y="1700808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1pPr>
            <a:lvl2pPr marL="552450" indent="-285750">
              <a:lnSpc>
                <a:spcPct val="100000"/>
              </a:lnSpc>
              <a:spcBef>
                <a:spcPts val="0"/>
              </a:spcBef>
              <a:defRPr lang="en-GB" sz="16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266700" indent="-177800">
              <a:lnSpc>
                <a:spcPct val="100000"/>
              </a:lnSpc>
              <a:spcBef>
                <a:spcPts val="0"/>
              </a:spcBef>
              <a:defRPr lang="en-GB" sz="16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>
              <a:lnSpc>
                <a:spcPct val="100000"/>
              </a:lnSpc>
              <a:spcBef>
                <a:spcPts val="0"/>
              </a:spcBef>
              <a:defRPr lang="en-GB" sz="16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>
              <a:lnSpc>
                <a:spcPct val="100000"/>
              </a:lnSpc>
              <a:spcBef>
                <a:spcPts val="0"/>
              </a:spcBef>
              <a:defRPr lang="en-US" sz="16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896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4492916" y="2276871"/>
            <a:ext cx="7699084" cy="4581129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79375" y="1340768"/>
            <a:ext cx="5832649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lvl1pPr algn="l">
              <a:lnSpc>
                <a:spcPts val="3000"/>
              </a:lnSpc>
              <a:defRPr lang="en-US" sz="2800" b="1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375" y="2933539"/>
            <a:ext cx="58326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2" name="Graphic 5">
            <a:extLst>
              <a:ext uri="{FF2B5EF4-FFF2-40B4-BE49-F238E27FC236}">
                <a16:creationId xmlns:a16="http://schemas.microsoft.com/office/drawing/2014/main" id="{4B955C90-6C97-2B4A-B5D9-D5FCC02E6BEF}"/>
              </a:ext>
            </a:extLst>
          </p:cNvPr>
          <p:cNvSpPr/>
          <p:nvPr userDrawn="1"/>
        </p:nvSpPr>
        <p:spPr>
          <a:xfrm>
            <a:off x="6716638" y="116632"/>
            <a:ext cx="5428034" cy="6686708"/>
          </a:xfrm>
          <a:custGeom>
            <a:avLst/>
            <a:gdLst>
              <a:gd name="connsiteX0" fmla="*/ 346422 w 342900"/>
              <a:gd name="connsiteY0" fmla="*/ 30508 h 422413"/>
              <a:gd name="connsiteX1" fmla="*/ 346422 w 342900"/>
              <a:gd name="connsiteY1" fmla="*/ 0 h 422413"/>
              <a:gd name="connsiteX2" fmla="*/ 346422 w 342900"/>
              <a:gd name="connsiteY2" fmla="*/ 0 h 422413"/>
              <a:gd name="connsiteX3" fmla="*/ 240957 w 342900"/>
              <a:gd name="connsiteY3" fmla="*/ 147375 h 422413"/>
              <a:gd name="connsiteX4" fmla="*/ 135585 w 342900"/>
              <a:gd name="connsiteY4" fmla="*/ 0 h 422413"/>
              <a:gd name="connsiteX5" fmla="*/ 0 w 342900"/>
              <a:gd name="connsiteY5" fmla="*/ 426731 h 422413"/>
              <a:gd name="connsiteX6" fmla="*/ 0 w 342900"/>
              <a:gd name="connsiteY6" fmla="*/ 426731 h 422413"/>
              <a:gd name="connsiteX7" fmla="*/ 60239 w 342900"/>
              <a:gd name="connsiteY7" fmla="*/ 426731 h 422413"/>
              <a:gd name="connsiteX8" fmla="*/ 135585 w 342900"/>
              <a:gd name="connsiteY8" fmla="*/ 30132 h 422413"/>
              <a:gd name="connsiteX9" fmla="*/ 210837 w 342900"/>
              <a:gd name="connsiteY9" fmla="*/ 396223 h 422413"/>
              <a:gd name="connsiteX10" fmla="*/ 271076 w 342900"/>
              <a:gd name="connsiteY10" fmla="*/ 396223 h 422413"/>
              <a:gd name="connsiteX11" fmla="*/ 346422 w 342900"/>
              <a:gd name="connsiteY11" fmla="*/ 30132 h 422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42900" h="422413">
                <a:moveTo>
                  <a:pt x="346422" y="30508"/>
                </a:moveTo>
                <a:lnTo>
                  <a:pt x="346422" y="0"/>
                </a:lnTo>
                <a:lnTo>
                  <a:pt x="346422" y="0"/>
                </a:lnTo>
                <a:cubicBezTo>
                  <a:pt x="303791" y="0"/>
                  <a:pt x="265887" y="57448"/>
                  <a:pt x="240957" y="147375"/>
                </a:cubicBezTo>
                <a:cubicBezTo>
                  <a:pt x="216120" y="57448"/>
                  <a:pt x="178123" y="0"/>
                  <a:pt x="135585" y="0"/>
                </a:cubicBezTo>
                <a:cubicBezTo>
                  <a:pt x="60795" y="0"/>
                  <a:pt x="0" y="191025"/>
                  <a:pt x="0" y="426731"/>
                </a:cubicBezTo>
                <a:lnTo>
                  <a:pt x="0" y="426731"/>
                </a:lnTo>
                <a:lnTo>
                  <a:pt x="60239" y="426731"/>
                </a:lnTo>
                <a:cubicBezTo>
                  <a:pt x="60239" y="207733"/>
                  <a:pt x="93973" y="30132"/>
                  <a:pt x="135585" y="30132"/>
                </a:cubicBezTo>
                <a:cubicBezTo>
                  <a:pt x="177196" y="30132"/>
                  <a:pt x="210837" y="194028"/>
                  <a:pt x="210837" y="396223"/>
                </a:cubicBezTo>
                <a:lnTo>
                  <a:pt x="271076" y="396223"/>
                </a:lnTo>
                <a:cubicBezTo>
                  <a:pt x="271076" y="194028"/>
                  <a:pt x="304810" y="30132"/>
                  <a:pt x="346422" y="30132"/>
                </a:cubicBezTo>
                <a:close/>
              </a:path>
            </a:pathLst>
          </a:custGeom>
          <a:solidFill>
            <a:srgbClr val="FFBC0D"/>
          </a:solidFill>
          <a:ln w="9268" cap="flat">
            <a:noFill/>
            <a:prstDash val="solid"/>
            <a:miter/>
          </a:ln>
        </p:spPr>
        <p:txBody>
          <a:bodyPr rtlCol="0" anchor="ctr"/>
          <a:lstStyle/>
          <a:p>
            <a:endParaRPr lang="pl-PL"/>
          </a:p>
        </p:txBody>
      </p:sp>
      <p:sp>
        <p:nvSpPr>
          <p:cNvPr id="29" name="Retângulo 43">
            <a:extLst>
              <a:ext uri="{FF2B5EF4-FFF2-40B4-BE49-F238E27FC236}">
                <a16:creationId xmlns:a16="http://schemas.microsoft.com/office/drawing/2014/main" id="{CA2C1273-AAF4-41EC-9517-92F8384E9B16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3CD77230-E123-4C70-9789-C04F27A7CC92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© Capgemini 2021. All rights reserved  |</a:t>
            </a:r>
          </a:p>
        </p:txBody>
      </p:sp>
      <p:grpSp>
        <p:nvGrpSpPr>
          <p:cNvPr id="31" name="Graphic 8">
            <a:extLst>
              <a:ext uri="{FF2B5EF4-FFF2-40B4-BE49-F238E27FC236}">
                <a16:creationId xmlns:a16="http://schemas.microsoft.com/office/drawing/2014/main" id="{D4872348-4F37-47EB-AE18-BFF2F19C0BE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89689" y="377370"/>
            <a:ext cx="1547154" cy="184040"/>
            <a:chOff x="5664200" y="1340768"/>
            <a:chExt cx="17981972" cy="2139032"/>
          </a:xfrm>
          <a:solidFill>
            <a:srgbClr val="000000"/>
          </a:solidFill>
        </p:grpSpPr>
        <p:sp>
          <p:nvSpPr>
            <p:cNvPr id="33" name="Freeform 27">
              <a:extLst>
                <a:ext uri="{FF2B5EF4-FFF2-40B4-BE49-F238E27FC236}">
                  <a16:creationId xmlns:a16="http://schemas.microsoft.com/office/drawing/2014/main" id="{93A14133-F80E-4B9C-876C-8C8ABAE53826}"/>
                </a:ext>
              </a:extLst>
            </p:cNvPr>
            <p:cNvSpPr/>
            <p:nvPr/>
          </p:nvSpPr>
          <p:spPr>
            <a:xfrm>
              <a:off x="8644870" y="1684010"/>
              <a:ext cx="1798197" cy="1750117"/>
            </a:xfrm>
            <a:custGeom>
              <a:avLst/>
              <a:gdLst>
                <a:gd name="connsiteX0" fmla="*/ 1281057 w 1798197"/>
                <a:gd name="connsiteY0" fmla="*/ 693217 h 1750117"/>
                <a:gd name="connsiteX1" fmla="*/ 987352 w 1798197"/>
                <a:gd name="connsiteY1" fmla="*/ 434588 h 1750117"/>
                <a:gd name="connsiteX2" fmla="*/ 601738 w 1798197"/>
                <a:gd name="connsiteY2" fmla="*/ 951845 h 1750117"/>
                <a:gd name="connsiteX3" fmla="*/ 957381 w 1798197"/>
                <a:gd name="connsiteY3" fmla="*/ 1406876 h 1750117"/>
                <a:gd name="connsiteX4" fmla="*/ 1298555 w 1798197"/>
                <a:gd name="connsiteY4" fmla="*/ 1122384 h 1750117"/>
                <a:gd name="connsiteX5" fmla="*/ 1299039 w 1798197"/>
                <a:gd name="connsiteY5" fmla="*/ 1115189 h 1750117"/>
                <a:gd name="connsiteX6" fmla="*/ 1880456 w 1798197"/>
                <a:gd name="connsiteY6" fmla="*/ 1115189 h 1750117"/>
                <a:gd name="connsiteX7" fmla="*/ 959379 w 1798197"/>
                <a:gd name="connsiteY7" fmla="*/ 1854128 h 1750117"/>
                <a:gd name="connsiteX8" fmla="*/ 3708 w 1798197"/>
                <a:gd name="connsiteY8" fmla="*/ 1029520 h 1750117"/>
                <a:gd name="connsiteX9" fmla="*/ 2339 w 1798197"/>
                <a:gd name="connsiteY9" fmla="*/ 955734 h 1750117"/>
                <a:gd name="connsiteX10" fmla="*/ 852209 w 1798197"/>
                <a:gd name="connsiteY10" fmla="*/ 2239 h 1750117"/>
                <a:gd name="connsiteX11" fmla="*/ 959379 w 1798197"/>
                <a:gd name="connsiteY11" fmla="*/ 948 h 1750117"/>
                <a:gd name="connsiteX12" fmla="*/ 1862474 w 1798197"/>
                <a:gd name="connsiteY12" fmla="*/ 693217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8197" h="1750117">
                  <a:moveTo>
                    <a:pt x="1281057" y="693217"/>
                  </a:moveTo>
                  <a:cubicBezTo>
                    <a:pt x="1272452" y="543270"/>
                    <a:pt x="1141507" y="427964"/>
                    <a:pt x="987352" y="434588"/>
                  </a:cubicBezTo>
                  <a:cubicBezTo>
                    <a:pt x="653686" y="434588"/>
                    <a:pt x="601738" y="708773"/>
                    <a:pt x="601738" y="951845"/>
                  </a:cubicBezTo>
                  <a:cubicBezTo>
                    <a:pt x="601738" y="1194917"/>
                    <a:pt x="703636" y="1406876"/>
                    <a:pt x="957381" y="1406876"/>
                  </a:cubicBezTo>
                  <a:cubicBezTo>
                    <a:pt x="1132312" y="1420009"/>
                    <a:pt x="1285061" y="1292638"/>
                    <a:pt x="1298555" y="1122384"/>
                  </a:cubicBezTo>
                  <a:cubicBezTo>
                    <a:pt x="1298745" y="1119988"/>
                    <a:pt x="1298906" y="1117589"/>
                    <a:pt x="1299039" y="1115189"/>
                  </a:cubicBezTo>
                  <a:lnTo>
                    <a:pt x="1880456" y="1115189"/>
                  </a:lnTo>
                  <a:cubicBezTo>
                    <a:pt x="1826510" y="1583832"/>
                    <a:pt x="1446891" y="1854128"/>
                    <a:pt x="959379" y="1854128"/>
                  </a:cubicBezTo>
                  <a:cubicBezTo>
                    <a:pt x="461513" y="1883264"/>
                    <a:pt x="33645" y="1514074"/>
                    <a:pt x="3708" y="1029520"/>
                  </a:cubicBezTo>
                  <a:cubicBezTo>
                    <a:pt x="2191" y="1004954"/>
                    <a:pt x="1734" y="980337"/>
                    <a:pt x="2339" y="955734"/>
                  </a:cubicBezTo>
                  <a:cubicBezTo>
                    <a:pt x="-33510" y="464023"/>
                    <a:pt x="346990" y="37129"/>
                    <a:pt x="852209" y="2239"/>
                  </a:cubicBezTo>
                  <a:cubicBezTo>
                    <a:pt x="887876" y="-225"/>
                    <a:pt x="923660" y="-655"/>
                    <a:pt x="959379" y="948"/>
                  </a:cubicBezTo>
                  <a:cubicBezTo>
                    <a:pt x="1414923" y="948"/>
                    <a:pt x="1814522" y="240131"/>
                    <a:pt x="1862474" y="693217"/>
                  </a:cubicBez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4" name="Freeform 28">
              <a:extLst>
                <a:ext uri="{FF2B5EF4-FFF2-40B4-BE49-F238E27FC236}">
                  <a16:creationId xmlns:a16="http://schemas.microsoft.com/office/drawing/2014/main" id="{D53C7957-58D5-4F0A-B521-A554EE7F7BB7}"/>
                </a:ext>
              </a:extLst>
            </p:cNvPr>
            <p:cNvSpPr/>
            <p:nvPr/>
          </p:nvSpPr>
          <p:spPr>
            <a:xfrm>
              <a:off x="14874966" y="1682397"/>
              <a:ext cx="1798197" cy="1750117"/>
            </a:xfrm>
            <a:custGeom>
              <a:avLst/>
              <a:gdLst>
                <a:gd name="connsiteX0" fmla="*/ 9991 w 1798197"/>
                <a:gd name="connsiteY0" fmla="*/ 47285 h 1750117"/>
                <a:gd name="connsiteX1" fmla="*/ 589409 w 1798197"/>
                <a:gd name="connsiteY1" fmla="*/ 47285 h 1750117"/>
                <a:gd name="connsiteX2" fmla="*/ 589409 w 1798197"/>
                <a:gd name="connsiteY2" fmla="*/ 300080 h 1750117"/>
                <a:gd name="connsiteX3" fmla="*/ 589409 w 1798197"/>
                <a:gd name="connsiteY3" fmla="*/ 300080 h 1750117"/>
                <a:gd name="connsiteX4" fmla="*/ 1140856 w 1798197"/>
                <a:gd name="connsiteY4" fmla="*/ 616 h 1750117"/>
                <a:gd name="connsiteX5" fmla="*/ 1822174 w 1798197"/>
                <a:gd name="connsiteY5" fmla="*/ 679272 h 1750117"/>
                <a:gd name="connsiteX6" fmla="*/ 1822174 w 1798197"/>
                <a:gd name="connsiteY6" fmla="*/ 1797403 h 1750117"/>
                <a:gd name="connsiteX7" fmla="*/ 1222775 w 1798197"/>
                <a:gd name="connsiteY7" fmla="*/ 1797403 h 1750117"/>
                <a:gd name="connsiteX8" fmla="*/ 1222775 w 1798197"/>
                <a:gd name="connsiteY8" fmla="*/ 957346 h 1750117"/>
                <a:gd name="connsiteX9" fmla="*/ 923075 w 1798197"/>
                <a:gd name="connsiteY9" fmla="*/ 473147 h 1750117"/>
                <a:gd name="connsiteX10" fmla="*/ 599399 w 1798197"/>
                <a:gd name="connsiteY10" fmla="*/ 895120 h 1750117"/>
                <a:gd name="connsiteX11" fmla="*/ 599399 w 1798197"/>
                <a:gd name="connsiteY11" fmla="*/ 1797403 h 1750117"/>
                <a:gd name="connsiteX12" fmla="*/ 0 w 1798197"/>
                <a:gd name="connsiteY12" fmla="*/ 1797403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8197" h="1750117">
                  <a:moveTo>
                    <a:pt x="9991" y="47285"/>
                  </a:moveTo>
                  <a:lnTo>
                    <a:pt x="589409" y="47285"/>
                  </a:lnTo>
                  <a:lnTo>
                    <a:pt x="589409" y="300080"/>
                  </a:lnTo>
                  <a:lnTo>
                    <a:pt x="589409" y="300080"/>
                  </a:lnTo>
                  <a:cubicBezTo>
                    <a:pt x="699916" y="106473"/>
                    <a:pt x="913537" y="-9534"/>
                    <a:pt x="1140856" y="616"/>
                  </a:cubicBezTo>
                  <a:cubicBezTo>
                    <a:pt x="1740256" y="616"/>
                    <a:pt x="1822174" y="426477"/>
                    <a:pt x="1822174" y="679272"/>
                  </a:cubicBezTo>
                  <a:lnTo>
                    <a:pt x="1822174" y="1797403"/>
                  </a:lnTo>
                  <a:lnTo>
                    <a:pt x="1222775" y="1797403"/>
                  </a:lnTo>
                  <a:lnTo>
                    <a:pt x="1222775" y="957346"/>
                  </a:lnTo>
                  <a:cubicBezTo>
                    <a:pt x="1222775" y="718164"/>
                    <a:pt x="1234762" y="473147"/>
                    <a:pt x="923075" y="473147"/>
                  </a:cubicBezTo>
                  <a:cubicBezTo>
                    <a:pt x="723275" y="473147"/>
                    <a:pt x="599399" y="638436"/>
                    <a:pt x="599399" y="895120"/>
                  </a:cubicBezTo>
                  <a:lnTo>
                    <a:pt x="599399" y="1797403"/>
                  </a:lnTo>
                  <a:lnTo>
                    <a:pt x="0" y="1797403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5" name="Freeform 29">
              <a:extLst>
                <a:ext uri="{FF2B5EF4-FFF2-40B4-BE49-F238E27FC236}">
                  <a16:creationId xmlns:a16="http://schemas.microsoft.com/office/drawing/2014/main" id="{B28A2AC2-EAB1-4E08-9475-55954D81CEB0}"/>
                </a:ext>
              </a:extLst>
            </p:cNvPr>
            <p:cNvSpPr/>
            <p:nvPr/>
          </p:nvSpPr>
          <p:spPr>
            <a:xfrm>
              <a:off x="16836998" y="1682369"/>
              <a:ext cx="1798197" cy="1750117"/>
            </a:xfrm>
            <a:custGeom>
              <a:avLst/>
              <a:gdLst>
                <a:gd name="connsiteX0" fmla="*/ 67932 w 1798197"/>
                <a:gd name="connsiteY0" fmla="*/ 591795 h 1750117"/>
                <a:gd name="connsiteX1" fmla="*/ 353646 w 1798197"/>
                <a:gd name="connsiteY1" fmla="*/ 123152 h 1750117"/>
                <a:gd name="connsiteX2" fmla="*/ 935063 w 1798197"/>
                <a:gd name="connsiteY2" fmla="*/ 644 h 1750117"/>
                <a:gd name="connsiteX3" fmla="*/ 1786210 w 1798197"/>
                <a:gd name="connsiteY3" fmla="*/ 584016 h 1750117"/>
                <a:gd name="connsiteX4" fmla="*/ 1786210 w 1798197"/>
                <a:gd name="connsiteY4" fmla="*/ 1356012 h 1750117"/>
                <a:gd name="connsiteX5" fmla="*/ 1858138 w 1798197"/>
                <a:gd name="connsiteY5" fmla="*/ 1797431 h 1750117"/>
                <a:gd name="connsiteX6" fmla="*/ 1258739 w 1798197"/>
                <a:gd name="connsiteY6" fmla="*/ 1797431 h 1750117"/>
                <a:gd name="connsiteX7" fmla="*/ 1222775 w 1798197"/>
                <a:gd name="connsiteY7" fmla="*/ 1632142 h 1750117"/>
                <a:gd name="connsiteX8" fmla="*/ 623376 w 1798197"/>
                <a:gd name="connsiteY8" fmla="*/ 1847990 h 1750117"/>
                <a:gd name="connsiteX9" fmla="*/ 0 w 1798197"/>
                <a:gd name="connsiteY9" fmla="*/ 1317121 h 1750117"/>
                <a:gd name="connsiteX10" fmla="*/ 1062935 w 1798197"/>
                <a:gd name="connsiteY10" fmla="*/ 710414 h 1750117"/>
                <a:gd name="connsiteX11" fmla="*/ 1222775 w 1798197"/>
                <a:gd name="connsiteY11" fmla="*/ 547069 h 1750117"/>
                <a:gd name="connsiteX12" fmla="*/ 933065 w 1798197"/>
                <a:gd name="connsiteY12" fmla="*/ 366224 h 1750117"/>
                <a:gd name="connsiteX13" fmla="*/ 633365 w 1798197"/>
                <a:gd name="connsiteY13" fmla="*/ 584016 h 1750117"/>
                <a:gd name="connsiteX14" fmla="*/ 843155 w 1798197"/>
                <a:gd name="connsiteY14" fmla="*/ 1499911 h 1750117"/>
                <a:gd name="connsiteX15" fmla="*/ 1208789 w 1798197"/>
                <a:gd name="connsiteY15" fmla="*/ 984599 h 1750117"/>
                <a:gd name="connsiteX16" fmla="*/ 839160 w 1798197"/>
                <a:gd name="connsiteY16" fmla="*/ 1077938 h 1750117"/>
                <a:gd name="connsiteX17" fmla="*/ 593405 w 1798197"/>
                <a:gd name="connsiteY17" fmla="*/ 1301564 h 1750117"/>
                <a:gd name="connsiteX18" fmla="*/ 843155 w 1798197"/>
                <a:gd name="connsiteY18" fmla="*/ 1496022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98197" h="1750117">
                  <a:moveTo>
                    <a:pt x="67932" y="591795"/>
                  </a:moveTo>
                  <a:cubicBezTo>
                    <a:pt x="68543" y="396642"/>
                    <a:pt x="177947" y="217193"/>
                    <a:pt x="353646" y="123152"/>
                  </a:cubicBezTo>
                  <a:cubicBezTo>
                    <a:pt x="534107" y="36279"/>
                    <a:pt x="733842" y="-5806"/>
                    <a:pt x="935063" y="644"/>
                  </a:cubicBezTo>
                  <a:cubicBezTo>
                    <a:pt x="1366630" y="644"/>
                    <a:pt x="1786210" y="92039"/>
                    <a:pt x="1786210" y="584016"/>
                  </a:cubicBezTo>
                  <a:lnTo>
                    <a:pt x="1786210" y="1356012"/>
                  </a:lnTo>
                  <a:cubicBezTo>
                    <a:pt x="1775222" y="1506568"/>
                    <a:pt x="1799827" y="1657572"/>
                    <a:pt x="1858138" y="1797431"/>
                  </a:cubicBezTo>
                  <a:lnTo>
                    <a:pt x="1258739" y="1797431"/>
                  </a:lnTo>
                  <a:cubicBezTo>
                    <a:pt x="1239900" y="1743960"/>
                    <a:pt x="1227823" y="1688455"/>
                    <a:pt x="1222775" y="1632142"/>
                  </a:cubicBezTo>
                  <a:cubicBezTo>
                    <a:pt x="1060166" y="1778408"/>
                    <a:pt x="844642" y="1856020"/>
                    <a:pt x="623376" y="1847990"/>
                  </a:cubicBezTo>
                  <a:cubicBezTo>
                    <a:pt x="273726" y="1847990"/>
                    <a:pt x="0" y="1678812"/>
                    <a:pt x="0" y="1317121"/>
                  </a:cubicBezTo>
                  <a:cubicBezTo>
                    <a:pt x="0" y="747361"/>
                    <a:pt x="647351" y="790141"/>
                    <a:pt x="1062935" y="710414"/>
                  </a:cubicBezTo>
                  <a:cubicBezTo>
                    <a:pt x="1164833" y="689023"/>
                    <a:pt x="1222775" y="655966"/>
                    <a:pt x="1222775" y="547069"/>
                  </a:cubicBezTo>
                  <a:cubicBezTo>
                    <a:pt x="1222775" y="438173"/>
                    <a:pt x="1056941" y="366224"/>
                    <a:pt x="933065" y="366224"/>
                  </a:cubicBezTo>
                  <a:cubicBezTo>
                    <a:pt x="788695" y="346522"/>
                    <a:pt x="654972" y="443699"/>
                    <a:pt x="633365" y="584016"/>
                  </a:cubicBezTo>
                  <a:close/>
                  <a:moveTo>
                    <a:pt x="843155" y="1499911"/>
                  </a:moveTo>
                  <a:cubicBezTo>
                    <a:pt x="1126871" y="1499911"/>
                    <a:pt x="1222775" y="1346290"/>
                    <a:pt x="1208789" y="984599"/>
                  </a:cubicBezTo>
                  <a:cubicBezTo>
                    <a:pt x="1089639" y="1029330"/>
                    <a:pt x="965624" y="1060647"/>
                    <a:pt x="839160" y="1077938"/>
                  </a:cubicBezTo>
                  <a:cubicBezTo>
                    <a:pt x="705293" y="1109052"/>
                    <a:pt x="593405" y="1163500"/>
                    <a:pt x="593405" y="1301564"/>
                  </a:cubicBezTo>
                  <a:cubicBezTo>
                    <a:pt x="593405" y="1439629"/>
                    <a:pt x="709290" y="1496022"/>
                    <a:pt x="843155" y="1496022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6" name="Freeform 30">
              <a:extLst>
                <a:ext uri="{FF2B5EF4-FFF2-40B4-BE49-F238E27FC236}">
                  <a16:creationId xmlns:a16="http://schemas.microsoft.com/office/drawing/2014/main" id="{0EA4B226-C3DF-43C7-8C73-0695564CB067}"/>
                </a:ext>
              </a:extLst>
            </p:cNvPr>
            <p:cNvSpPr/>
            <p:nvPr/>
          </p:nvSpPr>
          <p:spPr>
            <a:xfrm>
              <a:off x="18819012" y="1344657"/>
              <a:ext cx="599399" cy="2139032"/>
            </a:xfrm>
            <a:custGeom>
              <a:avLst/>
              <a:gdLst>
                <a:gd name="connsiteX0" fmla="*/ -1 w 599399"/>
                <a:gd name="connsiteY0" fmla="*/ 0 h 2139032"/>
                <a:gd name="connsiteX1" fmla="*/ 599398 w 599399"/>
                <a:gd name="connsiteY1" fmla="*/ 0 h 2139032"/>
                <a:gd name="connsiteX2" fmla="*/ 599398 w 599399"/>
                <a:gd name="connsiteY2" fmla="*/ 2142921 h 2139032"/>
                <a:gd name="connsiteX3" fmla="*/ -1 w 599399"/>
                <a:gd name="connsiteY3" fmla="*/ 2142921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9399" h="2139032">
                  <a:moveTo>
                    <a:pt x="-1" y="0"/>
                  </a:moveTo>
                  <a:lnTo>
                    <a:pt x="599398" y="0"/>
                  </a:lnTo>
                  <a:lnTo>
                    <a:pt x="599398" y="2142921"/>
                  </a:lnTo>
                  <a:lnTo>
                    <a:pt x="-1" y="2142921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7" name="Freeform 31">
              <a:extLst>
                <a:ext uri="{FF2B5EF4-FFF2-40B4-BE49-F238E27FC236}">
                  <a16:creationId xmlns:a16="http://schemas.microsoft.com/office/drawing/2014/main" id="{578A3AFA-E69A-4C21-9072-468BA4F66F5B}"/>
                </a:ext>
              </a:extLst>
            </p:cNvPr>
            <p:cNvSpPr/>
            <p:nvPr/>
          </p:nvSpPr>
          <p:spPr>
            <a:xfrm>
              <a:off x="19550279" y="1340768"/>
              <a:ext cx="1798197" cy="2139032"/>
            </a:xfrm>
            <a:custGeom>
              <a:avLst/>
              <a:gdLst>
                <a:gd name="connsiteX0" fmla="*/ 1898097 w 1798197"/>
                <a:gd name="connsiteY0" fmla="*/ 2139032 h 2139032"/>
                <a:gd name="connsiteX1" fmla="*/ 1320676 w 1798197"/>
                <a:gd name="connsiteY1" fmla="*/ 2139032 h 2139032"/>
                <a:gd name="connsiteX2" fmla="*/ 1320676 w 1798197"/>
                <a:gd name="connsiteY2" fmla="*/ 1944575 h 2139032"/>
                <a:gd name="connsiteX3" fmla="*/ 1320676 w 1798197"/>
                <a:gd name="connsiteY3" fmla="*/ 1944575 h 2139032"/>
                <a:gd name="connsiteX4" fmla="*/ 817182 w 1798197"/>
                <a:gd name="connsiteY4" fmla="*/ 2199314 h 2139032"/>
                <a:gd name="connsiteX5" fmla="*/ 0 w 1798197"/>
                <a:gd name="connsiteY5" fmla="*/ 1227027 h 2139032"/>
                <a:gd name="connsiteX6" fmla="*/ 771227 w 1798197"/>
                <a:gd name="connsiteY6" fmla="*/ 338356 h 2139032"/>
                <a:gd name="connsiteX7" fmla="*/ 1284712 w 1798197"/>
                <a:gd name="connsiteY7" fmla="*/ 583372 h 2139032"/>
                <a:gd name="connsiteX8" fmla="*/ 1284712 w 1798197"/>
                <a:gd name="connsiteY8" fmla="*/ 583372 h 2139032"/>
                <a:gd name="connsiteX9" fmla="*/ 1284712 w 1798197"/>
                <a:gd name="connsiteY9" fmla="*/ 0 h 2139032"/>
                <a:gd name="connsiteX10" fmla="*/ 1884111 w 1798197"/>
                <a:gd name="connsiteY10" fmla="*/ 0 h 2139032"/>
                <a:gd name="connsiteX11" fmla="*/ 597401 w 1798197"/>
                <a:gd name="connsiteY11" fmla="*/ 1244528 h 2139032"/>
                <a:gd name="connsiteX12" fmla="*/ 965033 w 1798197"/>
                <a:gd name="connsiteY12" fmla="*/ 1750117 h 2139032"/>
                <a:gd name="connsiteX13" fmla="*/ 1320676 w 1798197"/>
                <a:gd name="connsiteY13" fmla="*/ 1260084 h 2139032"/>
                <a:gd name="connsiteX14" fmla="*/ 959039 w 1798197"/>
                <a:gd name="connsiteY14" fmla="*/ 777830 h 2139032"/>
                <a:gd name="connsiteX15" fmla="*/ 591407 w 1798197"/>
                <a:gd name="connsiteY15" fmla="*/ 1248417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98197" h="2139032">
                  <a:moveTo>
                    <a:pt x="1898097" y="2139032"/>
                  </a:moveTo>
                  <a:lnTo>
                    <a:pt x="1320676" y="2139032"/>
                  </a:lnTo>
                  <a:lnTo>
                    <a:pt x="1320676" y="1944575"/>
                  </a:lnTo>
                  <a:lnTo>
                    <a:pt x="1320676" y="1944575"/>
                  </a:lnTo>
                  <a:cubicBezTo>
                    <a:pt x="1209173" y="2108272"/>
                    <a:pt x="1018907" y="2204536"/>
                    <a:pt x="817182" y="2199314"/>
                  </a:cubicBezTo>
                  <a:cubicBezTo>
                    <a:pt x="241757" y="2199314"/>
                    <a:pt x="0" y="1726782"/>
                    <a:pt x="0" y="1227027"/>
                  </a:cubicBezTo>
                  <a:cubicBezTo>
                    <a:pt x="0" y="771996"/>
                    <a:pt x="251748" y="338356"/>
                    <a:pt x="771227" y="338356"/>
                  </a:cubicBezTo>
                  <a:cubicBezTo>
                    <a:pt x="973505" y="332283"/>
                    <a:pt x="1165764" y="424022"/>
                    <a:pt x="1284712" y="583372"/>
                  </a:cubicBezTo>
                  <a:lnTo>
                    <a:pt x="1284712" y="583372"/>
                  </a:lnTo>
                  <a:lnTo>
                    <a:pt x="1284712" y="0"/>
                  </a:lnTo>
                  <a:lnTo>
                    <a:pt x="1884111" y="0"/>
                  </a:lnTo>
                  <a:close/>
                  <a:moveTo>
                    <a:pt x="597401" y="1244528"/>
                  </a:moveTo>
                  <a:cubicBezTo>
                    <a:pt x="597401" y="1483710"/>
                    <a:pt x="689308" y="1750117"/>
                    <a:pt x="965033" y="1750117"/>
                  </a:cubicBezTo>
                  <a:cubicBezTo>
                    <a:pt x="1240756" y="1750117"/>
                    <a:pt x="1320676" y="1483710"/>
                    <a:pt x="1320676" y="1260084"/>
                  </a:cubicBezTo>
                  <a:cubicBezTo>
                    <a:pt x="1320676" y="1036458"/>
                    <a:pt x="1218778" y="777830"/>
                    <a:pt x="959039" y="777830"/>
                  </a:cubicBezTo>
                  <a:cubicBezTo>
                    <a:pt x="699299" y="777830"/>
                    <a:pt x="591407" y="1024791"/>
                    <a:pt x="591407" y="1248417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8" name="Freeform 32">
              <a:extLst>
                <a:ext uri="{FF2B5EF4-FFF2-40B4-BE49-F238E27FC236}">
                  <a16:creationId xmlns:a16="http://schemas.microsoft.com/office/drawing/2014/main" id="{C2E5035F-1AC2-4243-9E7A-62F1B36B0061}"/>
                </a:ext>
              </a:extLst>
            </p:cNvPr>
            <p:cNvSpPr/>
            <p:nvPr/>
          </p:nvSpPr>
          <p:spPr>
            <a:xfrm>
              <a:off x="21566257" y="1344657"/>
              <a:ext cx="399599" cy="388915"/>
            </a:xfrm>
            <a:custGeom>
              <a:avLst/>
              <a:gdLst>
                <a:gd name="connsiteX0" fmla="*/ 281718 w 399599"/>
                <a:gd name="connsiteY0" fmla="*/ 579483 h 388914"/>
                <a:gd name="connsiteX1" fmla="*/ 0 w 399599"/>
                <a:gd name="connsiteY1" fmla="*/ 579483 h 388914"/>
                <a:gd name="connsiteX2" fmla="*/ 0 w 399599"/>
                <a:gd name="connsiteY2" fmla="*/ 0 h 388914"/>
                <a:gd name="connsiteX3" fmla="*/ 561438 w 399599"/>
                <a:gd name="connsiteY3" fmla="*/ 0 h 388914"/>
                <a:gd name="connsiteX4" fmla="*/ 281718 w 399599"/>
                <a:gd name="connsiteY4" fmla="*/ 579483 h 38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599" h="388914">
                  <a:moveTo>
                    <a:pt x="281718" y="579483"/>
                  </a:moveTo>
                  <a:lnTo>
                    <a:pt x="0" y="579483"/>
                  </a:lnTo>
                  <a:lnTo>
                    <a:pt x="0" y="0"/>
                  </a:lnTo>
                  <a:lnTo>
                    <a:pt x="561438" y="0"/>
                  </a:lnTo>
                  <a:lnTo>
                    <a:pt x="281718" y="579483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9" name="Freeform 33">
              <a:extLst>
                <a:ext uri="{FF2B5EF4-FFF2-40B4-BE49-F238E27FC236}">
                  <a16:creationId xmlns:a16="http://schemas.microsoft.com/office/drawing/2014/main" id="{99C4997A-8B87-4ADA-9B76-2DA6D6E17153}"/>
                </a:ext>
              </a:extLst>
            </p:cNvPr>
            <p:cNvSpPr/>
            <p:nvPr/>
          </p:nvSpPr>
          <p:spPr>
            <a:xfrm>
              <a:off x="10659192" y="1340768"/>
              <a:ext cx="1997997" cy="2139032"/>
            </a:xfrm>
            <a:custGeom>
              <a:avLst/>
              <a:gdLst>
                <a:gd name="connsiteX0" fmla="*/ 951047 w 1997996"/>
                <a:gd name="connsiteY0" fmla="*/ 0 h 2139032"/>
                <a:gd name="connsiteX1" fmla="*/ 0 w 1997996"/>
                <a:gd name="connsiteY1" fmla="*/ 0 h 2139032"/>
                <a:gd name="connsiteX2" fmla="*/ 0 w 1997996"/>
                <a:gd name="connsiteY2" fmla="*/ 2139032 h 2139032"/>
                <a:gd name="connsiteX3" fmla="*/ 961036 w 1997996"/>
                <a:gd name="connsiteY3" fmla="*/ 2139032 h 2139032"/>
                <a:gd name="connsiteX4" fmla="*/ 2057937 w 1997996"/>
                <a:gd name="connsiteY4" fmla="*/ 1057849 h 2139032"/>
                <a:gd name="connsiteX5" fmla="*/ 951047 w 1997996"/>
                <a:gd name="connsiteY5" fmla="*/ 0 h 2139032"/>
                <a:gd name="connsiteX6" fmla="*/ 897101 w 1997996"/>
                <a:gd name="connsiteY6" fmla="*/ 1645110 h 2139032"/>
                <a:gd name="connsiteX7" fmla="*/ 629369 w 1997996"/>
                <a:gd name="connsiteY7" fmla="*/ 1645110 h 2139032"/>
                <a:gd name="connsiteX8" fmla="*/ 629369 w 1997996"/>
                <a:gd name="connsiteY8" fmla="*/ 499756 h 2139032"/>
                <a:gd name="connsiteX9" fmla="*/ 897101 w 1997996"/>
                <a:gd name="connsiteY9" fmla="*/ 499756 h 2139032"/>
                <a:gd name="connsiteX10" fmla="*/ 1400596 w 1997996"/>
                <a:gd name="connsiteY10" fmla="*/ 1063682 h 2139032"/>
                <a:gd name="connsiteX11" fmla="*/ 897101 w 1997996"/>
                <a:gd name="connsiteY11" fmla="*/ 1647055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7996" h="2139032">
                  <a:moveTo>
                    <a:pt x="951047" y="0"/>
                  </a:moveTo>
                  <a:lnTo>
                    <a:pt x="0" y="0"/>
                  </a:lnTo>
                  <a:lnTo>
                    <a:pt x="0" y="2139032"/>
                  </a:lnTo>
                  <a:lnTo>
                    <a:pt x="961036" y="2139032"/>
                  </a:lnTo>
                  <a:cubicBezTo>
                    <a:pt x="1640355" y="2139032"/>
                    <a:pt x="2057937" y="1759840"/>
                    <a:pt x="2057937" y="1057849"/>
                  </a:cubicBezTo>
                  <a:cubicBezTo>
                    <a:pt x="2047947" y="402527"/>
                    <a:pt x="1636359" y="0"/>
                    <a:pt x="951047" y="0"/>
                  </a:cubicBezTo>
                  <a:moveTo>
                    <a:pt x="897101" y="1645110"/>
                  </a:moveTo>
                  <a:lnTo>
                    <a:pt x="629369" y="1645110"/>
                  </a:lnTo>
                  <a:lnTo>
                    <a:pt x="629369" y="499756"/>
                  </a:lnTo>
                  <a:lnTo>
                    <a:pt x="897101" y="499756"/>
                  </a:lnTo>
                  <a:cubicBezTo>
                    <a:pt x="1244752" y="499756"/>
                    <a:pt x="1400596" y="723382"/>
                    <a:pt x="1400596" y="1063682"/>
                  </a:cubicBezTo>
                  <a:cubicBezTo>
                    <a:pt x="1400596" y="1438985"/>
                    <a:pt x="1274722" y="1647055"/>
                    <a:pt x="897101" y="1647055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0" name="Freeform 34">
              <a:extLst>
                <a:ext uri="{FF2B5EF4-FFF2-40B4-BE49-F238E27FC236}">
                  <a16:creationId xmlns:a16="http://schemas.microsoft.com/office/drawing/2014/main" id="{E7A4B9E8-8D4C-41E7-BA78-6F238ECB5518}"/>
                </a:ext>
              </a:extLst>
            </p:cNvPr>
            <p:cNvSpPr/>
            <p:nvPr/>
          </p:nvSpPr>
          <p:spPr>
            <a:xfrm>
              <a:off x="5664200" y="1340768"/>
              <a:ext cx="2996995" cy="2139032"/>
            </a:xfrm>
            <a:custGeom>
              <a:avLst/>
              <a:gdLst>
                <a:gd name="connsiteX0" fmla="*/ 1842153 w 2996995"/>
                <a:gd name="connsiteY0" fmla="*/ 2139032 h 2139032"/>
                <a:gd name="connsiteX1" fmla="*/ 2081913 w 2996995"/>
                <a:gd name="connsiteY1" fmla="*/ 1279530 h 2139032"/>
                <a:gd name="connsiteX2" fmla="*/ 2145849 w 2996995"/>
                <a:gd name="connsiteY2" fmla="*/ 1003400 h 2139032"/>
                <a:gd name="connsiteX3" fmla="*/ 2145849 w 2996995"/>
                <a:gd name="connsiteY3" fmla="*/ 1003400 h 2139032"/>
                <a:gd name="connsiteX4" fmla="*/ 2193801 w 2996995"/>
                <a:gd name="connsiteY4" fmla="*/ 1285364 h 2139032"/>
                <a:gd name="connsiteX5" fmla="*/ 2369624 w 2996995"/>
                <a:gd name="connsiteY5" fmla="*/ 2139032 h 2139032"/>
                <a:gd name="connsiteX6" fmla="*/ 3028963 w 2996995"/>
                <a:gd name="connsiteY6" fmla="*/ 2139032 h 2139032"/>
                <a:gd name="connsiteX7" fmla="*/ 2565428 w 2996995"/>
                <a:gd name="connsiteY7" fmla="*/ 0 h 2139032"/>
                <a:gd name="connsiteX8" fmla="*/ 1868127 w 2996995"/>
                <a:gd name="connsiteY8" fmla="*/ 0 h 2139032"/>
                <a:gd name="connsiteX9" fmla="*/ 1598398 w 2996995"/>
                <a:gd name="connsiteY9" fmla="*/ 1079239 h 2139032"/>
                <a:gd name="connsiteX10" fmla="*/ 1518478 w 2996995"/>
                <a:gd name="connsiteY10" fmla="*/ 1361202 h 2139032"/>
                <a:gd name="connsiteX11" fmla="*/ 1518478 w 2996995"/>
                <a:gd name="connsiteY11" fmla="*/ 1361202 h 2139032"/>
                <a:gd name="connsiteX12" fmla="*/ 1440556 w 2996995"/>
                <a:gd name="connsiteY12" fmla="*/ 1079239 h 2139032"/>
                <a:gd name="connsiteX13" fmla="*/ 1160836 w 2996995"/>
                <a:gd name="connsiteY13" fmla="*/ 0 h 2139032"/>
                <a:gd name="connsiteX14" fmla="*/ 461537 w 2996995"/>
                <a:gd name="connsiteY14" fmla="*/ 0 h 2139032"/>
                <a:gd name="connsiteX15" fmla="*/ 0 w 2996995"/>
                <a:gd name="connsiteY15" fmla="*/ 2139032 h 2139032"/>
                <a:gd name="connsiteX16" fmla="*/ 659339 w 2996995"/>
                <a:gd name="connsiteY16" fmla="*/ 2139032 h 2139032"/>
                <a:gd name="connsiteX17" fmla="*/ 829169 w 2996995"/>
                <a:gd name="connsiteY17" fmla="*/ 1285364 h 2139032"/>
                <a:gd name="connsiteX18" fmla="*/ 875123 w 2996995"/>
                <a:gd name="connsiteY18" fmla="*/ 1003400 h 2139032"/>
                <a:gd name="connsiteX19" fmla="*/ 875123 w 2996995"/>
                <a:gd name="connsiteY19" fmla="*/ 1003400 h 2139032"/>
                <a:gd name="connsiteX20" fmla="*/ 939059 w 2996995"/>
                <a:gd name="connsiteY20" fmla="*/ 1279530 h 2139032"/>
                <a:gd name="connsiteX21" fmla="*/ 1186810 w 2996995"/>
                <a:gd name="connsiteY21" fmla="*/ 2139032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96995" h="2139032">
                  <a:moveTo>
                    <a:pt x="1842153" y="2139032"/>
                  </a:moveTo>
                  <a:lnTo>
                    <a:pt x="2081913" y="1279530"/>
                  </a:lnTo>
                  <a:cubicBezTo>
                    <a:pt x="2107887" y="1178412"/>
                    <a:pt x="2135859" y="1061738"/>
                    <a:pt x="2145849" y="1003400"/>
                  </a:cubicBezTo>
                  <a:lnTo>
                    <a:pt x="2145849" y="1003400"/>
                  </a:lnTo>
                  <a:cubicBezTo>
                    <a:pt x="2145849" y="1048126"/>
                    <a:pt x="2169825" y="1176468"/>
                    <a:pt x="2193801" y="1285364"/>
                  </a:cubicBezTo>
                  <a:lnTo>
                    <a:pt x="2369624" y="2139032"/>
                  </a:lnTo>
                  <a:lnTo>
                    <a:pt x="3028963" y="2139032"/>
                  </a:lnTo>
                  <a:lnTo>
                    <a:pt x="2565428" y="0"/>
                  </a:lnTo>
                  <a:lnTo>
                    <a:pt x="1868127" y="0"/>
                  </a:lnTo>
                  <a:lnTo>
                    <a:pt x="1598398" y="1079239"/>
                  </a:lnTo>
                  <a:cubicBezTo>
                    <a:pt x="1564432" y="1166745"/>
                    <a:pt x="1534462" y="1297031"/>
                    <a:pt x="1518478" y="1361202"/>
                  </a:cubicBezTo>
                  <a:lnTo>
                    <a:pt x="1518478" y="1361202"/>
                  </a:lnTo>
                  <a:cubicBezTo>
                    <a:pt x="1492504" y="1297031"/>
                    <a:pt x="1464532" y="1166745"/>
                    <a:pt x="1440556" y="1079239"/>
                  </a:cubicBezTo>
                  <a:lnTo>
                    <a:pt x="1160836" y="0"/>
                  </a:lnTo>
                  <a:lnTo>
                    <a:pt x="461537" y="0"/>
                  </a:lnTo>
                  <a:lnTo>
                    <a:pt x="0" y="2139032"/>
                  </a:lnTo>
                  <a:lnTo>
                    <a:pt x="659339" y="2139032"/>
                  </a:lnTo>
                  <a:lnTo>
                    <a:pt x="829169" y="1285364"/>
                  </a:lnTo>
                  <a:cubicBezTo>
                    <a:pt x="851147" y="1176468"/>
                    <a:pt x="869129" y="1048126"/>
                    <a:pt x="875123" y="1003400"/>
                  </a:cubicBezTo>
                  <a:lnTo>
                    <a:pt x="875123" y="1003400"/>
                  </a:lnTo>
                  <a:cubicBezTo>
                    <a:pt x="875123" y="1061738"/>
                    <a:pt x="911087" y="1178412"/>
                    <a:pt x="939059" y="1279530"/>
                  </a:cubicBezTo>
                  <a:lnTo>
                    <a:pt x="1186810" y="2139032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1" name="Freeform 35">
              <a:extLst>
                <a:ext uri="{FF2B5EF4-FFF2-40B4-BE49-F238E27FC236}">
                  <a16:creationId xmlns:a16="http://schemas.microsoft.com/office/drawing/2014/main" id="{02E6D3A0-07A9-4FEF-B409-B7B1E7D18C0D}"/>
                </a:ext>
              </a:extLst>
            </p:cNvPr>
            <p:cNvSpPr/>
            <p:nvPr/>
          </p:nvSpPr>
          <p:spPr>
            <a:xfrm>
              <a:off x="12830059" y="1683552"/>
              <a:ext cx="1798197" cy="1750117"/>
            </a:xfrm>
            <a:custGeom>
              <a:avLst/>
              <a:gdLst>
                <a:gd name="connsiteX0" fmla="*/ 963990 w 1798197"/>
                <a:gd name="connsiteY0" fmla="*/ 1406 h 1750117"/>
                <a:gd name="connsiteX1" fmla="*/ 1436 w 1798197"/>
                <a:gd name="connsiteY1" fmla="*/ 839168 h 1750117"/>
                <a:gd name="connsiteX2" fmla="*/ 956 w 1798197"/>
                <a:gd name="connsiteY2" fmla="*/ 928968 h 1750117"/>
                <a:gd name="connsiteX3" fmla="*/ 871723 w 1798197"/>
                <a:gd name="connsiteY3" fmla="*/ 1856998 h 1750117"/>
                <a:gd name="connsiteX4" fmla="*/ 963991 w 1798197"/>
                <a:gd name="connsiteY4" fmla="*/ 1856530 h 1750117"/>
                <a:gd name="connsiteX5" fmla="*/ 1924651 w 1798197"/>
                <a:gd name="connsiteY5" fmla="*/ 1016712 h 1750117"/>
                <a:gd name="connsiteX6" fmla="*/ 1925028 w 1798197"/>
                <a:gd name="connsiteY6" fmla="*/ 928968 h 1750117"/>
                <a:gd name="connsiteX7" fmla="*/ 1054145 w 1798197"/>
                <a:gd name="connsiteY7" fmla="*/ 1039 h 1750117"/>
                <a:gd name="connsiteX8" fmla="*/ 963991 w 1798197"/>
                <a:gd name="connsiteY8" fmla="*/ 1406 h 1750117"/>
                <a:gd name="connsiteX9" fmla="*/ 963990 w 1798197"/>
                <a:gd name="connsiteY9" fmla="*/ 1419001 h 1750117"/>
                <a:gd name="connsiteX10" fmla="*/ 600355 w 1798197"/>
                <a:gd name="connsiteY10" fmla="*/ 928968 h 1750117"/>
                <a:gd name="connsiteX11" fmla="*/ 963990 w 1798197"/>
                <a:gd name="connsiteY11" fmla="*/ 435046 h 1750117"/>
                <a:gd name="connsiteX12" fmla="*/ 1325628 w 1798197"/>
                <a:gd name="connsiteY12" fmla="*/ 928968 h 1750117"/>
                <a:gd name="connsiteX13" fmla="*/ 963990 w 1798197"/>
                <a:gd name="connsiteY13" fmla="*/ 1419001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98197" h="1750117">
                  <a:moveTo>
                    <a:pt x="963990" y="1406"/>
                  </a:moveTo>
                  <a:cubicBezTo>
                    <a:pt x="460491" y="-25947"/>
                    <a:pt x="29541" y="349132"/>
                    <a:pt x="1436" y="839168"/>
                  </a:cubicBezTo>
                  <a:cubicBezTo>
                    <a:pt x="-278" y="869074"/>
                    <a:pt x="-439" y="899046"/>
                    <a:pt x="956" y="928968"/>
                  </a:cubicBezTo>
                  <a:cubicBezTo>
                    <a:pt x="-21898" y="1419263"/>
                    <a:pt x="367958" y="1834756"/>
                    <a:pt x="871723" y="1856998"/>
                  </a:cubicBezTo>
                  <a:cubicBezTo>
                    <a:pt x="902467" y="1858356"/>
                    <a:pt x="933262" y="1858199"/>
                    <a:pt x="963991" y="1856530"/>
                  </a:cubicBezTo>
                  <a:cubicBezTo>
                    <a:pt x="1467550" y="1882807"/>
                    <a:pt x="1897653" y="1506807"/>
                    <a:pt x="1924651" y="1016712"/>
                  </a:cubicBezTo>
                  <a:cubicBezTo>
                    <a:pt x="1926261" y="987488"/>
                    <a:pt x="1926387" y="958204"/>
                    <a:pt x="1925028" y="928968"/>
                  </a:cubicBezTo>
                  <a:cubicBezTo>
                    <a:pt x="1947820" y="438670"/>
                    <a:pt x="1557913" y="23223"/>
                    <a:pt x="1054145" y="1039"/>
                  </a:cubicBezTo>
                  <a:cubicBezTo>
                    <a:pt x="1024106" y="-283"/>
                    <a:pt x="994018" y="-161"/>
                    <a:pt x="963991" y="1406"/>
                  </a:cubicBezTo>
                  <a:moveTo>
                    <a:pt x="963990" y="1419001"/>
                  </a:moveTo>
                  <a:cubicBezTo>
                    <a:pt x="704251" y="1419001"/>
                    <a:pt x="600355" y="1208987"/>
                    <a:pt x="600355" y="928968"/>
                  </a:cubicBezTo>
                  <a:cubicBezTo>
                    <a:pt x="600355" y="648949"/>
                    <a:pt x="704251" y="435046"/>
                    <a:pt x="963990" y="435046"/>
                  </a:cubicBezTo>
                  <a:cubicBezTo>
                    <a:pt x="1223730" y="435046"/>
                    <a:pt x="1325628" y="648949"/>
                    <a:pt x="1325628" y="928968"/>
                  </a:cubicBezTo>
                  <a:cubicBezTo>
                    <a:pt x="1325628" y="1208987"/>
                    <a:pt x="1225728" y="1419001"/>
                    <a:pt x="963990" y="1419001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2" name="Freeform 36">
              <a:extLst>
                <a:ext uri="{FF2B5EF4-FFF2-40B4-BE49-F238E27FC236}">
                  <a16:creationId xmlns:a16="http://schemas.microsoft.com/office/drawing/2014/main" id="{F7F6511D-DAD5-44FF-9CE6-2EFFC85D8971}"/>
                </a:ext>
              </a:extLst>
            </p:cNvPr>
            <p:cNvSpPr/>
            <p:nvPr/>
          </p:nvSpPr>
          <p:spPr>
            <a:xfrm>
              <a:off x="21989833" y="1683013"/>
              <a:ext cx="1598398" cy="1750117"/>
            </a:xfrm>
            <a:custGeom>
              <a:avLst/>
              <a:gdLst>
                <a:gd name="connsiteX0" fmla="*/ 565434 w 1598397"/>
                <a:gd name="connsiteY0" fmla="*/ 1227027 h 1750117"/>
                <a:gd name="connsiteX1" fmla="*/ 663335 w 1598397"/>
                <a:gd name="connsiteY1" fmla="*/ 1421484 h 1750117"/>
                <a:gd name="connsiteX2" fmla="*/ 863135 w 1598397"/>
                <a:gd name="connsiteY2" fmla="*/ 1483710 h 1750117"/>
                <a:gd name="connsiteX3" fmla="*/ 1142855 w 1598397"/>
                <a:gd name="connsiteY3" fmla="*/ 1289253 h 1750117"/>
                <a:gd name="connsiteX4" fmla="*/ 857141 w 1598397"/>
                <a:gd name="connsiteY4" fmla="*/ 1112297 h 1750117"/>
                <a:gd name="connsiteX5" fmla="*/ 9991 w 1598397"/>
                <a:gd name="connsiteY5" fmla="*/ 538647 h 1750117"/>
                <a:gd name="connsiteX6" fmla="*/ 849149 w 1598397"/>
                <a:gd name="connsiteY6" fmla="*/ 0 h 1750117"/>
                <a:gd name="connsiteX7" fmla="*/ 1680316 w 1598397"/>
                <a:gd name="connsiteY7" fmla="*/ 567816 h 1750117"/>
                <a:gd name="connsiteX8" fmla="*/ 1126870 w 1598397"/>
                <a:gd name="connsiteY8" fmla="*/ 567816 h 1750117"/>
                <a:gd name="connsiteX9" fmla="*/ 1056941 w 1598397"/>
                <a:gd name="connsiteY9" fmla="*/ 416139 h 1750117"/>
                <a:gd name="connsiteX10" fmla="*/ 877121 w 1598397"/>
                <a:gd name="connsiteY10" fmla="*/ 371414 h 1750117"/>
                <a:gd name="connsiteX11" fmla="*/ 623376 w 1598397"/>
                <a:gd name="connsiteY11" fmla="*/ 503645 h 1750117"/>
                <a:gd name="connsiteX12" fmla="*/ 1306690 w 1598397"/>
                <a:gd name="connsiteY12" fmla="*/ 756440 h 1750117"/>
                <a:gd name="connsiteX13" fmla="*/ 1764232 w 1598397"/>
                <a:gd name="connsiteY13" fmla="*/ 1230916 h 1750117"/>
                <a:gd name="connsiteX14" fmla="*/ 883114 w 1598397"/>
                <a:gd name="connsiteY14" fmla="*/ 1855124 h 1750117"/>
                <a:gd name="connsiteX15" fmla="*/ 0 w 1598397"/>
                <a:gd name="connsiteY15" fmla="*/ 1227027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98397" h="1750117">
                  <a:moveTo>
                    <a:pt x="565434" y="1227027"/>
                  </a:moveTo>
                  <a:cubicBezTo>
                    <a:pt x="562613" y="1303699"/>
                    <a:pt x="599352" y="1376670"/>
                    <a:pt x="663335" y="1421484"/>
                  </a:cubicBezTo>
                  <a:cubicBezTo>
                    <a:pt x="721521" y="1462225"/>
                    <a:pt x="791457" y="1484006"/>
                    <a:pt x="863135" y="1483710"/>
                  </a:cubicBezTo>
                  <a:cubicBezTo>
                    <a:pt x="979019" y="1483711"/>
                    <a:pt x="1142855" y="1435096"/>
                    <a:pt x="1142855" y="1289253"/>
                  </a:cubicBezTo>
                  <a:cubicBezTo>
                    <a:pt x="1142855" y="1143410"/>
                    <a:pt x="967031" y="1135632"/>
                    <a:pt x="857141" y="1112297"/>
                  </a:cubicBezTo>
                  <a:cubicBezTo>
                    <a:pt x="491507" y="1018957"/>
                    <a:pt x="9991" y="1018957"/>
                    <a:pt x="9991" y="538647"/>
                  </a:cubicBezTo>
                  <a:cubicBezTo>
                    <a:pt x="9991" y="114730"/>
                    <a:pt x="495504" y="0"/>
                    <a:pt x="849149" y="0"/>
                  </a:cubicBezTo>
                  <a:cubicBezTo>
                    <a:pt x="1248748" y="0"/>
                    <a:pt x="1660335" y="112785"/>
                    <a:pt x="1680316" y="567816"/>
                  </a:cubicBezTo>
                  <a:lnTo>
                    <a:pt x="1126870" y="567816"/>
                  </a:lnTo>
                  <a:cubicBezTo>
                    <a:pt x="1132861" y="508762"/>
                    <a:pt x="1106249" y="451042"/>
                    <a:pt x="1056941" y="416139"/>
                  </a:cubicBezTo>
                  <a:cubicBezTo>
                    <a:pt x="1002817" y="384359"/>
                    <a:pt x="940274" y="368803"/>
                    <a:pt x="877121" y="371414"/>
                  </a:cubicBezTo>
                  <a:cubicBezTo>
                    <a:pt x="779219" y="371414"/>
                    <a:pt x="623376" y="383081"/>
                    <a:pt x="623376" y="503645"/>
                  </a:cubicBezTo>
                  <a:cubicBezTo>
                    <a:pt x="623376" y="668934"/>
                    <a:pt x="1034962" y="698102"/>
                    <a:pt x="1306690" y="756440"/>
                  </a:cubicBezTo>
                  <a:cubicBezTo>
                    <a:pt x="1559004" y="782271"/>
                    <a:pt x="1753730" y="984205"/>
                    <a:pt x="1764232" y="1230916"/>
                  </a:cubicBezTo>
                  <a:cubicBezTo>
                    <a:pt x="1764232" y="1699558"/>
                    <a:pt x="1290706" y="1855124"/>
                    <a:pt x="883114" y="1855124"/>
                  </a:cubicBezTo>
                  <a:cubicBezTo>
                    <a:pt x="475523" y="1855124"/>
                    <a:pt x="17983" y="1717059"/>
                    <a:pt x="0" y="1227027"/>
                  </a:cubicBez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pic>
        <p:nvPicPr>
          <p:cNvPr id="43" name="Picture 42" descr="A picture containing shirt&#10;&#10;Description automatically generated">
            <a:extLst>
              <a:ext uri="{FF2B5EF4-FFF2-40B4-BE49-F238E27FC236}">
                <a16:creationId xmlns:a16="http://schemas.microsoft.com/office/drawing/2014/main" id="{46A944A7-F739-45C6-9B9F-1C0BF9BFAA5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87" y="113312"/>
            <a:ext cx="1951701" cy="791127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E09BD746-7A75-4EC4-803E-272F95C98E3F}"/>
              </a:ext>
            </a:extLst>
          </p:cNvPr>
          <p:cNvSpPr txBox="1"/>
          <p:nvPr userDrawn="1"/>
        </p:nvSpPr>
        <p:spPr>
          <a:xfrm>
            <a:off x="1811306" y="366549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FOR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847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 flipV="1">
            <a:off x="5137150" y="3175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9376" y="1306917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lvl1pPr>
              <a:defRPr lang="en-US" sz="2800" b="1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376" y="2924944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7" name="Graphic 8">
            <a:extLst>
              <a:ext uri="{FF2B5EF4-FFF2-40B4-BE49-F238E27FC236}">
                <a16:creationId xmlns:a16="http://schemas.microsoft.com/office/drawing/2014/main" id="{A025545D-6237-0246-8ED5-36ABEFED714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89689" y="377370"/>
            <a:ext cx="1547154" cy="184040"/>
            <a:chOff x="5664200" y="1340768"/>
            <a:chExt cx="17981972" cy="2139032"/>
          </a:xfrm>
          <a:solidFill>
            <a:srgbClr val="000000"/>
          </a:solidFill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744C00E4-78E2-2C4B-BA48-833CD6A79B55}"/>
                </a:ext>
              </a:extLst>
            </p:cNvPr>
            <p:cNvSpPr/>
            <p:nvPr/>
          </p:nvSpPr>
          <p:spPr>
            <a:xfrm>
              <a:off x="8644870" y="1684010"/>
              <a:ext cx="1798197" cy="1750117"/>
            </a:xfrm>
            <a:custGeom>
              <a:avLst/>
              <a:gdLst>
                <a:gd name="connsiteX0" fmla="*/ 1281057 w 1798197"/>
                <a:gd name="connsiteY0" fmla="*/ 693217 h 1750117"/>
                <a:gd name="connsiteX1" fmla="*/ 987352 w 1798197"/>
                <a:gd name="connsiteY1" fmla="*/ 434588 h 1750117"/>
                <a:gd name="connsiteX2" fmla="*/ 601738 w 1798197"/>
                <a:gd name="connsiteY2" fmla="*/ 951845 h 1750117"/>
                <a:gd name="connsiteX3" fmla="*/ 957381 w 1798197"/>
                <a:gd name="connsiteY3" fmla="*/ 1406876 h 1750117"/>
                <a:gd name="connsiteX4" fmla="*/ 1298555 w 1798197"/>
                <a:gd name="connsiteY4" fmla="*/ 1122384 h 1750117"/>
                <a:gd name="connsiteX5" fmla="*/ 1299039 w 1798197"/>
                <a:gd name="connsiteY5" fmla="*/ 1115189 h 1750117"/>
                <a:gd name="connsiteX6" fmla="*/ 1880456 w 1798197"/>
                <a:gd name="connsiteY6" fmla="*/ 1115189 h 1750117"/>
                <a:gd name="connsiteX7" fmla="*/ 959379 w 1798197"/>
                <a:gd name="connsiteY7" fmla="*/ 1854128 h 1750117"/>
                <a:gd name="connsiteX8" fmla="*/ 3708 w 1798197"/>
                <a:gd name="connsiteY8" fmla="*/ 1029520 h 1750117"/>
                <a:gd name="connsiteX9" fmla="*/ 2339 w 1798197"/>
                <a:gd name="connsiteY9" fmla="*/ 955734 h 1750117"/>
                <a:gd name="connsiteX10" fmla="*/ 852209 w 1798197"/>
                <a:gd name="connsiteY10" fmla="*/ 2239 h 1750117"/>
                <a:gd name="connsiteX11" fmla="*/ 959379 w 1798197"/>
                <a:gd name="connsiteY11" fmla="*/ 948 h 1750117"/>
                <a:gd name="connsiteX12" fmla="*/ 1862474 w 1798197"/>
                <a:gd name="connsiteY12" fmla="*/ 693217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8197" h="1750117">
                  <a:moveTo>
                    <a:pt x="1281057" y="693217"/>
                  </a:moveTo>
                  <a:cubicBezTo>
                    <a:pt x="1272452" y="543270"/>
                    <a:pt x="1141507" y="427964"/>
                    <a:pt x="987352" y="434588"/>
                  </a:cubicBezTo>
                  <a:cubicBezTo>
                    <a:pt x="653686" y="434588"/>
                    <a:pt x="601738" y="708773"/>
                    <a:pt x="601738" y="951845"/>
                  </a:cubicBezTo>
                  <a:cubicBezTo>
                    <a:pt x="601738" y="1194917"/>
                    <a:pt x="703636" y="1406876"/>
                    <a:pt x="957381" y="1406876"/>
                  </a:cubicBezTo>
                  <a:cubicBezTo>
                    <a:pt x="1132312" y="1420009"/>
                    <a:pt x="1285061" y="1292638"/>
                    <a:pt x="1298555" y="1122384"/>
                  </a:cubicBezTo>
                  <a:cubicBezTo>
                    <a:pt x="1298745" y="1119988"/>
                    <a:pt x="1298906" y="1117589"/>
                    <a:pt x="1299039" y="1115189"/>
                  </a:cubicBezTo>
                  <a:lnTo>
                    <a:pt x="1880456" y="1115189"/>
                  </a:lnTo>
                  <a:cubicBezTo>
                    <a:pt x="1826510" y="1583832"/>
                    <a:pt x="1446891" y="1854128"/>
                    <a:pt x="959379" y="1854128"/>
                  </a:cubicBezTo>
                  <a:cubicBezTo>
                    <a:pt x="461513" y="1883264"/>
                    <a:pt x="33645" y="1514074"/>
                    <a:pt x="3708" y="1029520"/>
                  </a:cubicBezTo>
                  <a:cubicBezTo>
                    <a:pt x="2191" y="1004954"/>
                    <a:pt x="1734" y="980337"/>
                    <a:pt x="2339" y="955734"/>
                  </a:cubicBezTo>
                  <a:cubicBezTo>
                    <a:pt x="-33510" y="464023"/>
                    <a:pt x="346990" y="37129"/>
                    <a:pt x="852209" y="2239"/>
                  </a:cubicBezTo>
                  <a:cubicBezTo>
                    <a:pt x="887876" y="-225"/>
                    <a:pt x="923660" y="-655"/>
                    <a:pt x="959379" y="948"/>
                  </a:cubicBezTo>
                  <a:cubicBezTo>
                    <a:pt x="1414923" y="948"/>
                    <a:pt x="1814522" y="240131"/>
                    <a:pt x="1862474" y="693217"/>
                  </a:cubicBez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F8304028-CB79-FF40-9F34-B4D960FE054C}"/>
                </a:ext>
              </a:extLst>
            </p:cNvPr>
            <p:cNvSpPr/>
            <p:nvPr/>
          </p:nvSpPr>
          <p:spPr>
            <a:xfrm>
              <a:off x="14874966" y="1682397"/>
              <a:ext cx="1798197" cy="1750117"/>
            </a:xfrm>
            <a:custGeom>
              <a:avLst/>
              <a:gdLst>
                <a:gd name="connsiteX0" fmla="*/ 9991 w 1798197"/>
                <a:gd name="connsiteY0" fmla="*/ 47285 h 1750117"/>
                <a:gd name="connsiteX1" fmla="*/ 589409 w 1798197"/>
                <a:gd name="connsiteY1" fmla="*/ 47285 h 1750117"/>
                <a:gd name="connsiteX2" fmla="*/ 589409 w 1798197"/>
                <a:gd name="connsiteY2" fmla="*/ 300080 h 1750117"/>
                <a:gd name="connsiteX3" fmla="*/ 589409 w 1798197"/>
                <a:gd name="connsiteY3" fmla="*/ 300080 h 1750117"/>
                <a:gd name="connsiteX4" fmla="*/ 1140856 w 1798197"/>
                <a:gd name="connsiteY4" fmla="*/ 616 h 1750117"/>
                <a:gd name="connsiteX5" fmla="*/ 1822174 w 1798197"/>
                <a:gd name="connsiteY5" fmla="*/ 679272 h 1750117"/>
                <a:gd name="connsiteX6" fmla="*/ 1822174 w 1798197"/>
                <a:gd name="connsiteY6" fmla="*/ 1797403 h 1750117"/>
                <a:gd name="connsiteX7" fmla="*/ 1222775 w 1798197"/>
                <a:gd name="connsiteY7" fmla="*/ 1797403 h 1750117"/>
                <a:gd name="connsiteX8" fmla="*/ 1222775 w 1798197"/>
                <a:gd name="connsiteY8" fmla="*/ 957346 h 1750117"/>
                <a:gd name="connsiteX9" fmla="*/ 923075 w 1798197"/>
                <a:gd name="connsiteY9" fmla="*/ 473147 h 1750117"/>
                <a:gd name="connsiteX10" fmla="*/ 599399 w 1798197"/>
                <a:gd name="connsiteY10" fmla="*/ 895120 h 1750117"/>
                <a:gd name="connsiteX11" fmla="*/ 599399 w 1798197"/>
                <a:gd name="connsiteY11" fmla="*/ 1797403 h 1750117"/>
                <a:gd name="connsiteX12" fmla="*/ 0 w 1798197"/>
                <a:gd name="connsiteY12" fmla="*/ 1797403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8197" h="1750117">
                  <a:moveTo>
                    <a:pt x="9991" y="47285"/>
                  </a:moveTo>
                  <a:lnTo>
                    <a:pt x="589409" y="47285"/>
                  </a:lnTo>
                  <a:lnTo>
                    <a:pt x="589409" y="300080"/>
                  </a:lnTo>
                  <a:lnTo>
                    <a:pt x="589409" y="300080"/>
                  </a:lnTo>
                  <a:cubicBezTo>
                    <a:pt x="699916" y="106473"/>
                    <a:pt x="913537" y="-9534"/>
                    <a:pt x="1140856" y="616"/>
                  </a:cubicBezTo>
                  <a:cubicBezTo>
                    <a:pt x="1740256" y="616"/>
                    <a:pt x="1822174" y="426477"/>
                    <a:pt x="1822174" y="679272"/>
                  </a:cubicBezTo>
                  <a:lnTo>
                    <a:pt x="1822174" y="1797403"/>
                  </a:lnTo>
                  <a:lnTo>
                    <a:pt x="1222775" y="1797403"/>
                  </a:lnTo>
                  <a:lnTo>
                    <a:pt x="1222775" y="957346"/>
                  </a:lnTo>
                  <a:cubicBezTo>
                    <a:pt x="1222775" y="718164"/>
                    <a:pt x="1234762" y="473147"/>
                    <a:pt x="923075" y="473147"/>
                  </a:cubicBezTo>
                  <a:cubicBezTo>
                    <a:pt x="723275" y="473147"/>
                    <a:pt x="599399" y="638436"/>
                    <a:pt x="599399" y="895120"/>
                  </a:cubicBezTo>
                  <a:lnTo>
                    <a:pt x="599399" y="1797403"/>
                  </a:lnTo>
                  <a:lnTo>
                    <a:pt x="0" y="1797403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3C781D12-44FC-DB4D-A2BC-E075CA58376C}"/>
                </a:ext>
              </a:extLst>
            </p:cNvPr>
            <p:cNvSpPr/>
            <p:nvPr/>
          </p:nvSpPr>
          <p:spPr>
            <a:xfrm>
              <a:off x="16836998" y="1682369"/>
              <a:ext cx="1798197" cy="1750117"/>
            </a:xfrm>
            <a:custGeom>
              <a:avLst/>
              <a:gdLst>
                <a:gd name="connsiteX0" fmla="*/ 67932 w 1798197"/>
                <a:gd name="connsiteY0" fmla="*/ 591795 h 1750117"/>
                <a:gd name="connsiteX1" fmla="*/ 353646 w 1798197"/>
                <a:gd name="connsiteY1" fmla="*/ 123152 h 1750117"/>
                <a:gd name="connsiteX2" fmla="*/ 935063 w 1798197"/>
                <a:gd name="connsiteY2" fmla="*/ 644 h 1750117"/>
                <a:gd name="connsiteX3" fmla="*/ 1786210 w 1798197"/>
                <a:gd name="connsiteY3" fmla="*/ 584016 h 1750117"/>
                <a:gd name="connsiteX4" fmla="*/ 1786210 w 1798197"/>
                <a:gd name="connsiteY4" fmla="*/ 1356012 h 1750117"/>
                <a:gd name="connsiteX5" fmla="*/ 1858138 w 1798197"/>
                <a:gd name="connsiteY5" fmla="*/ 1797431 h 1750117"/>
                <a:gd name="connsiteX6" fmla="*/ 1258739 w 1798197"/>
                <a:gd name="connsiteY6" fmla="*/ 1797431 h 1750117"/>
                <a:gd name="connsiteX7" fmla="*/ 1222775 w 1798197"/>
                <a:gd name="connsiteY7" fmla="*/ 1632142 h 1750117"/>
                <a:gd name="connsiteX8" fmla="*/ 623376 w 1798197"/>
                <a:gd name="connsiteY8" fmla="*/ 1847990 h 1750117"/>
                <a:gd name="connsiteX9" fmla="*/ 0 w 1798197"/>
                <a:gd name="connsiteY9" fmla="*/ 1317121 h 1750117"/>
                <a:gd name="connsiteX10" fmla="*/ 1062935 w 1798197"/>
                <a:gd name="connsiteY10" fmla="*/ 710414 h 1750117"/>
                <a:gd name="connsiteX11" fmla="*/ 1222775 w 1798197"/>
                <a:gd name="connsiteY11" fmla="*/ 547069 h 1750117"/>
                <a:gd name="connsiteX12" fmla="*/ 933065 w 1798197"/>
                <a:gd name="connsiteY12" fmla="*/ 366224 h 1750117"/>
                <a:gd name="connsiteX13" fmla="*/ 633365 w 1798197"/>
                <a:gd name="connsiteY13" fmla="*/ 584016 h 1750117"/>
                <a:gd name="connsiteX14" fmla="*/ 843155 w 1798197"/>
                <a:gd name="connsiteY14" fmla="*/ 1499911 h 1750117"/>
                <a:gd name="connsiteX15" fmla="*/ 1208789 w 1798197"/>
                <a:gd name="connsiteY15" fmla="*/ 984599 h 1750117"/>
                <a:gd name="connsiteX16" fmla="*/ 839160 w 1798197"/>
                <a:gd name="connsiteY16" fmla="*/ 1077938 h 1750117"/>
                <a:gd name="connsiteX17" fmla="*/ 593405 w 1798197"/>
                <a:gd name="connsiteY17" fmla="*/ 1301564 h 1750117"/>
                <a:gd name="connsiteX18" fmla="*/ 843155 w 1798197"/>
                <a:gd name="connsiteY18" fmla="*/ 1496022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98197" h="1750117">
                  <a:moveTo>
                    <a:pt x="67932" y="591795"/>
                  </a:moveTo>
                  <a:cubicBezTo>
                    <a:pt x="68543" y="396642"/>
                    <a:pt x="177947" y="217193"/>
                    <a:pt x="353646" y="123152"/>
                  </a:cubicBezTo>
                  <a:cubicBezTo>
                    <a:pt x="534107" y="36279"/>
                    <a:pt x="733842" y="-5806"/>
                    <a:pt x="935063" y="644"/>
                  </a:cubicBezTo>
                  <a:cubicBezTo>
                    <a:pt x="1366630" y="644"/>
                    <a:pt x="1786210" y="92039"/>
                    <a:pt x="1786210" y="584016"/>
                  </a:cubicBezTo>
                  <a:lnTo>
                    <a:pt x="1786210" y="1356012"/>
                  </a:lnTo>
                  <a:cubicBezTo>
                    <a:pt x="1775222" y="1506568"/>
                    <a:pt x="1799827" y="1657572"/>
                    <a:pt x="1858138" y="1797431"/>
                  </a:cubicBezTo>
                  <a:lnTo>
                    <a:pt x="1258739" y="1797431"/>
                  </a:lnTo>
                  <a:cubicBezTo>
                    <a:pt x="1239900" y="1743960"/>
                    <a:pt x="1227823" y="1688455"/>
                    <a:pt x="1222775" y="1632142"/>
                  </a:cubicBezTo>
                  <a:cubicBezTo>
                    <a:pt x="1060166" y="1778408"/>
                    <a:pt x="844642" y="1856020"/>
                    <a:pt x="623376" y="1847990"/>
                  </a:cubicBezTo>
                  <a:cubicBezTo>
                    <a:pt x="273726" y="1847990"/>
                    <a:pt x="0" y="1678812"/>
                    <a:pt x="0" y="1317121"/>
                  </a:cubicBezTo>
                  <a:cubicBezTo>
                    <a:pt x="0" y="747361"/>
                    <a:pt x="647351" y="790141"/>
                    <a:pt x="1062935" y="710414"/>
                  </a:cubicBezTo>
                  <a:cubicBezTo>
                    <a:pt x="1164833" y="689023"/>
                    <a:pt x="1222775" y="655966"/>
                    <a:pt x="1222775" y="547069"/>
                  </a:cubicBezTo>
                  <a:cubicBezTo>
                    <a:pt x="1222775" y="438173"/>
                    <a:pt x="1056941" y="366224"/>
                    <a:pt x="933065" y="366224"/>
                  </a:cubicBezTo>
                  <a:cubicBezTo>
                    <a:pt x="788695" y="346522"/>
                    <a:pt x="654972" y="443699"/>
                    <a:pt x="633365" y="584016"/>
                  </a:cubicBezTo>
                  <a:close/>
                  <a:moveTo>
                    <a:pt x="843155" y="1499911"/>
                  </a:moveTo>
                  <a:cubicBezTo>
                    <a:pt x="1126871" y="1499911"/>
                    <a:pt x="1222775" y="1346290"/>
                    <a:pt x="1208789" y="984599"/>
                  </a:cubicBezTo>
                  <a:cubicBezTo>
                    <a:pt x="1089639" y="1029330"/>
                    <a:pt x="965624" y="1060647"/>
                    <a:pt x="839160" y="1077938"/>
                  </a:cubicBezTo>
                  <a:cubicBezTo>
                    <a:pt x="705293" y="1109052"/>
                    <a:pt x="593405" y="1163500"/>
                    <a:pt x="593405" y="1301564"/>
                  </a:cubicBezTo>
                  <a:cubicBezTo>
                    <a:pt x="593405" y="1439629"/>
                    <a:pt x="709290" y="1496022"/>
                    <a:pt x="843155" y="1496022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1F2E3C54-82D4-054F-A28C-27B2372D5D51}"/>
                </a:ext>
              </a:extLst>
            </p:cNvPr>
            <p:cNvSpPr/>
            <p:nvPr/>
          </p:nvSpPr>
          <p:spPr>
            <a:xfrm>
              <a:off x="18819012" y="1344657"/>
              <a:ext cx="599399" cy="2139032"/>
            </a:xfrm>
            <a:custGeom>
              <a:avLst/>
              <a:gdLst>
                <a:gd name="connsiteX0" fmla="*/ -1 w 599399"/>
                <a:gd name="connsiteY0" fmla="*/ 0 h 2139032"/>
                <a:gd name="connsiteX1" fmla="*/ 599398 w 599399"/>
                <a:gd name="connsiteY1" fmla="*/ 0 h 2139032"/>
                <a:gd name="connsiteX2" fmla="*/ 599398 w 599399"/>
                <a:gd name="connsiteY2" fmla="*/ 2142921 h 2139032"/>
                <a:gd name="connsiteX3" fmla="*/ -1 w 599399"/>
                <a:gd name="connsiteY3" fmla="*/ 2142921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9399" h="2139032">
                  <a:moveTo>
                    <a:pt x="-1" y="0"/>
                  </a:moveTo>
                  <a:lnTo>
                    <a:pt x="599398" y="0"/>
                  </a:lnTo>
                  <a:lnTo>
                    <a:pt x="599398" y="2142921"/>
                  </a:lnTo>
                  <a:lnTo>
                    <a:pt x="-1" y="2142921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FF9E7946-45AF-7144-A793-FFD057F1477C}"/>
                </a:ext>
              </a:extLst>
            </p:cNvPr>
            <p:cNvSpPr/>
            <p:nvPr/>
          </p:nvSpPr>
          <p:spPr>
            <a:xfrm>
              <a:off x="19550279" y="1340768"/>
              <a:ext cx="1798197" cy="2139032"/>
            </a:xfrm>
            <a:custGeom>
              <a:avLst/>
              <a:gdLst>
                <a:gd name="connsiteX0" fmla="*/ 1898097 w 1798197"/>
                <a:gd name="connsiteY0" fmla="*/ 2139032 h 2139032"/>
                <a:gd name="connsiteX1" fmla="*/ 1320676 w 1798197"/>
                <a:gd name="connsiteY1" fmla="*/ 2139032 h 2139032"/>
                <a:gd name="connsiteX2" fmla="*/ 1320676 w 1798197"/>
                <a:gd name="connsiteY2" fmla="*/ 1944575 h 2139032"/>
                <a:gd name="connsiteX3" fmla="*/ 1320676 w 1798197"/>
                <a:gd name="connsiteY3" fmla="*/ 1944575 h 2139032"/>
                <a:gd name="connsiteX4" fmla="*/ 817182 w 1798197"/>
                <a:gd name="connsiteY4" fmla="*/ 2199314 h 2139032"/>
                <a:gd name="connsiteX5" fmla="*/ 0 w 1798197"/>
                <a:gd name="connsiteY5" fmla="*/ 1227027 h 2139032"/>
                <a:gd name="connsiteX6" fmla="*/ 771227 w 1798197"/>
                <a:gd name="connsiteY6" fmla="*/ 338356 h 2139032"/>
                <a:gd name="connsiteX7" fmla="*/ 1284712 w 1798197"/>
                <a:gd name="connsiteY7" fmla="*/ 583372 h 2139032"/>
                <a:gd name="connsiteX8" fmla="*/ 1284712 w 1798197"/>
                <a:gd name="connsiteY8" fmla="*/ 583372 h 2139032"/>
                <a:gd name="connsiteX9" fmla="*/ 1284712 w 1798197"/>
                <a:gd name="connsiteY9" fmla="*/ 0 h 2139032"/>
                <a:gd name="connsiteX10" fmla="*/ 1884111 w 1798197"/>
                <a:gd name="connsiteY10" fmla="*/ 0 h 2139032"/>
                <a:gd name="connsiteX11" fmla="*/ 597401 w 1798197"/>
                <a:gd name="connsiteY11" fmla="*/ 1244528 h 2139032"/>
                <a:gd name="connsiteX12" fmla="*/ 965033 w 1798197"/>
                <a:gd name="connsiteY12" fmla="*/ 1750117 h 2139032"/>
                <a:gd name="connsiteX13" fmla="*/ 1320676 w 1798197"/>
                <a:gd name="connsiteY13" fmla="*/ 1260084 h 2139032"/>
                <a:gd name="connsiteX14" fmla="*/ 959039 w 1798197"/>
                <a:gd name="connsiteY14" fmla="*/ 777830 h 2139032"/>
                <a:gd name="connsiteX15" fmla="*/ 591407 w 1798197"/>
                <a:gd name="connsiteY15" fmla="*/ 1248417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98197" h="2139032">
                  <a:moveTo>
                    <a:pt x="1898097" y="2139032"/>
                  </a:moveTo>
                  <a:lnTo>
                    <a:pt x="1320676" y="2139032"/>
                  </a:lnTo>
                  <a:lnTo>
                    <a:pt x="1320676" y="1944575"/>
                  </a:lnTo>
                  <a:lnTo>
                    <a:pt x="1320676" y="1944575"/>
                  </a:lnTo>
                  <a:cubicBezTo>
                    <a:pt x="1209173" y="2108272"/>
                    <a:pt x="1018907" y="2204536"/>
                    <a:pt x="817182" y="2199314"/>
                  </a:cubicBezTo>
                  <a:cubicBezTo>
                    <a:pt x="241757" y="2199314"/>
                    <a:pt x="0" y="1726782"/>
                    <a:pt x="0" y="1227027"/>
                  </a:cubicBezTo>
                  <a:cubicBezTo>
                    <a:pt x="0" y="771996"/>
                    <a:pt x="251748" y="338356"/>
                    <a:pt x="771227" y="338356"/>
                  </a:cubicBezTo>
                  <a:cubicBezTo>
                    <a:pt x="973505" y="332283"/>
                    <a:pt x="1165764" y="424022"/>
                    <a:pt x="1284712" y="583372"/>
                  </a:cubicBezTo>
                  <a:lnTo>
                    <a:pt x="1284712" y="583372"/>
                  </a:lnTo>
                  <a:lnTo>
                    <a:pt x="1284712" y="0"/>
                  </a:lnTo>
                  <a:lnTo>
                    <a:pt x="1884111" y="0"/>
                  </a:lnTo>
                  <a:close/>
                  <a:moveTo>
                    <a:pt x="597401" y="1244528"/>
                  </a:moveTo>
                  <a:cubicBezTo>
                    <a:pt x="597401" y="1483710"/>
                    <a:pt x="689308" y="1750117"/>
                    <a:pt x="965033" y="1750117"/>
                  </a:cubicBezTo>
                  <a:cubicBezTo>
                    <a:pt x="1240756" y="1750117"/>
                    <a:pt x="1320676" y="1483710"/>
                    <a:pt x="1320676" y="1260084"/>
                  </a:cubicBezTo>
                  <a:cubicBezTo>
                    <a:pt x="1320676" y="1036458"/>
                    <a:pt x="1218778" y="777830"/>
                    <a:pt x="959039" y="777830"/>
                  </a:cubicBezTo>
                  <a:cubicBezTo>
                    <a:pt x="699299" y="777830"/>
                    <a:pt x="591407" y="1024791"/>
                    <a:pt x="591407" y="1248417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6D3227C6-9742-E949-9974-86F94FC822D9}"/>
                </a:ext>
              </a:extLst>
            </p:cNvPr>
            <p:cNvSpPr/>
            <p:nvPr/>
          </p:nvSpPr>
          <p:spPr>
            <a:xfrm>
              <a:off x="21566257" y="1344657"/>
              <a:ext cx="399599" cy="388915"/>
            </a:xfrm>
            <a:custGeom>
              <a:avLst/>
              <a:gdLst>
                <a:gd name="connsiteX0" fmla="*/ 281718 w 399599"/>
                <a:gd name="connsiteY0" fmla="*/ 579483 h 388914"/>
                <a:gd name="connsiteX1" fmla="*/ 0 w 399599"/>
                <a:gd name="connsiteY1" fmla="*/ 579483 h 388914"/>
                <a:gd name="connsiteX2" fmla="*/ 0 w 399599"/>
                <a:gd name="connsiteY2" fmla="*/ 0 h 388914"/>
                <a:gd name="connsiteX3" fmla="*/ 561438 w 399599"/>
                <a:gd name="connsiteY3" fmla="*/ 0 h 388914"/>
                <a:gd name="connsiteX4" fmla="*/ 281718 w 399599"/>
                <a:gd name="connsiteY4" fmla="*/ 579483 h 38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599" h="388914">
                  <a:moveTo>
                    <a:pt x="281718" y="579483"/>
                  </a:moveTo>
                  <a:lnTo>
                    <a:pt x="0" y="579483"/>
                  </a:lnTo>
                  <a:lnTo>
                    <a:pt x="0" y="0"/>
                  </a:lnTo>
                  <a:lnTo>
                    <a:pt x="561438" y="0"/>
                  </a:lnTo>
                  <a:lnTo>
                    <a:pt x="281718" y="579483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2ABC74A3-E583-B347-AAEF-3CF894D21229}"/>
                </a:ext>
              </a:extLst>
            </p:cNvPr>
            <p:cNvSpPr/>
            <p:nvPr/>
          </p:nvSpPr>
          <p:spPr>
            <a:xfrm>
              <a:off x="10659192" y="1340768"/>
              <a:ext cx="1997997" cy="2139032"/>
            </a:xfrm>
            <a:custGeom>
              <a:avLst/>
              <a:gdLst>
                <a:gd name="connsiteX0" fmla="*/ 951047 w 1997996"/>
                <a:gd name="connsiteY0" fmla="*/ 0 h 2139032"/>
                <a:gd name="connsiteX1" fmla="*/ 0 w 1997996"/>
                <a:gd name="connsiteY1" fmla="*/ 0 h 2139032"/>
                <a:gd name="connsiteX2" fmla="*/ 0 w 1997996"/>
                <a:gd name="connsiteY2" fmla="*/ 2139032 h 2139032"/>
                <a:gd name="connsiteX3" fmla="*/ 961036 w 1997996"/>
                <a:gd name="connsiteY3" fmla="*/ 2139032 h 2139032"/>
                <a:gd name="connsiteX4" fmla="*/ 2057937 w 1997996"/>
                <a:gd name="connsiteY4" fmla="*/ 1057849 h 2139032"/>
                <a:gd name="connsiteX5" fmla="*/ 951047 w 1997996"/>
                <a:gd name="connsiteY5" fmla="*/ 0 h 2139032"/>
                <a:gd name="connsiteX6" fmla="*/ 897101 w 1997996"/>
                <a:gd name="connsiteY6" fmla="*/ 1645110 h 2139032"/>
                <a:gd name="connsiteX7" fmla="*/ 629369 w 1997996"/>
                <a:gd name="connsiteY7" fmla="*/ 1645110 h 2139032"/>
                <a:gd name="connsiteX8" fmla="*/ 629369 w 1997996"/>
                <a:gd name="connsiteY8" fmla="*/ 499756 h 2139032"/>
                <a:gd name="connsiteX9" fmla="*/ 897101 w 1997996"/>
                <a:gd name="connsiteY9" fmla="*/ 499756 h 2139032"/>
                <a:gd name="connsiteX10" fmla="*/ 1400596 w 1997996"/>
                <a:gd name="connsiteY10" fmla="*/ 1063682 h 2139032"/>
                <a:gd name="connsiteX11" fmla="*/ 897101 w 1997996"/>
                <a:gd name="connsiteY11" fmla="*/ 1647055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7996" h="2139032">
                  <a:moveTo>
                    <a:pt x="951047" y="0"/>
                  </a:moveTo>
                  <a:lnTo>
                    <a:pt x="0" y="0"/>
                  </a:lnTo>
                  <a:lnTo>
                    <a:pt x="0" y="2139032"/>
                  </a:lnTo>
                  <a:lnTo>
                    <a:pt x="961036" y="2139032"/>
                  </a:lnTo>
                  <a:cubicBezTo>
                    <a:pt x="1640355" y="2139032"/>
                    <a:pt x="2057937" y="1759840"/>
                    <a:pt x="2057937" y="1057849"/>
                  </a:cubicBezTo>
                  <a:cubicBezTo>
                    <a:pt x="2047947" y="402527"/>
                    <a:pt x="1636359" y="0"/>
                    <a:pt x="951047" y="0"/>
                  </a:cubicBezTo>
                  <a:moveTo>
                    <a:pt x="897101" y="1645110"/>
                  </a:moveTo>
                  <a:lnTo>
                    <a:pt x="629369" y="1645110"/>
                  </a:lnTo>
                  <a:lnTo>
                    <a:pt x="629369" y="499756"/>
                  </a:lnTo>
                  <a:lnTo>
                    <a:pt x="897101" y="499756"/>
                  </a:lnTo>
                  <a:cubicBezTo>
                    <a:pt x="1244752" y="499756"/>
                    <a:pt x="1400596" y="723382"/>
                    <a:pt x="1400596" y="1063682"/>
                  </a:cubicBezTo>
                  <a:cubicBezTo>
                    <a:pt x="1400596" y="1438985"/>
                    <a:pt x="1274722" y="1647055"/>
                    <a:pt x="897101" y="1647055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804C83F5-3737-044E-BA78-D4099730983D}"/>
                </a:ext>
              </a:extLst>
            </p:cNvPr>
            <p:cNvSpPr/>
            <p:nvPr/>
          </p:nvSpPr>
          <p:spPr>
            <a:xfrm>
              <a:off x="5664200" y="1340768"/>
              <a:ext cx="2996995" cy="2139032"/>
            </a:xfrm>
            <a:custGeom>
              <a:avLst/>
              <a:gdLst>
                <a:gd name="connsiteX0" fmla="*/ 1842153 w 2996995"/>
                <a:gd name="connsiteY0" fmla="*/ 2139032 h 2139032"/>
                <a:gd name="connsiteX1" fmla="*/ 2081913 w 2996995"/>
                <a:gd name="connsiteY1" fmla="*/ 1279530 h 2139032"/>
                <a:gd name="connsiteX2" fmla="*/ 2145849 w 2996995"/>
                <a:gd name="connsiteY2" fmla="*/ 1003400 h 2139032"/>
                <a:gd name="connsiteX3" fmla="*/ 2145849 w 2996995"/>
                <a:gd name="connsiteY3" fmla="*/ 1003400 h 2139032"/>
                <a:gd name="connsiteX4" fmla="*/ 2193801 w 2996995"/>
                <a:gd name="connsiteY4" fmla="*/ 1285364 h 2139032"/>
                <a:gd name="connsiteX5" fmla="*/ 2369624 w 2996995"/>
                <a:gd name="connsiteY5" fmla="*/ 2139032 h 2139032"/>
                <a:gd name="connsiteX6" fmla="*/ 3028963 w 2996995"/>
                <a:gd name="connsiteY6" fmla="*/ 2139032 h 2139032"/>
                <a:gd name="connsiteX7" fmla="*/ 2565428 w 2996995"/>
                <a:gd name="connsiteY7" fmla="*/ 0 h 2139032"/>
                <a:gd name="connsiteX8" fmla="*/ 1868127 w 2996995"/>
                <a:gd name="connsiteY8" fmla="*/ 0 h 2139032"/>
                <a:gd name="connsiteX9" fmla="*/ 1598398 w 2996995"/>
                <a:gd name="connsiteY9" fmla="*/ 1079239 h 2139032"/>
                <a:gd name="connsiteX10" fmla="*/ 1518478 w 2996995"/>
                <a:gd name="connsiteY10" fmla="*/ 1361202 h 2139032"/>
                <a:gd name="connsiteX11" fmla="*/ 1518478 w 2996995"/>
                <a:gd name="connsiteY11" fmla="*/ 1361202 h 2139032"/>
                <a:gd name="connsiteX12" fmla="*/ 1440556 w 2996995"/>
                <a:gd name="connsiteY12" fmla="*/ 1079239 h 2139032"/>
                <a:gd name="connsiteX13" fmla="*/ 1160836 w 2996995"/>
                <a:gd name="connsiteY13" fmla="*/ 0 h 2139032"/>
                <a:gd name="connsiteX14" fmla="*/ 461537 w 2996995"/>
                <a:gd name="connsiteY14" fmla="*/ 0 h 2139032"/>
                <a:gd name="connsiteX15" fmla="*/ 0 w 2996995"/>
                <a:gd name="connsiteY15" fmla="*/ 2139032 h 2139032"/>
                <a:gd name="connsiteX16" fmla="*/ 659339 w 2996995"/>
                <a:gd name="connsiteY16" fmla="*/ 2139032 h 2139032"/>
                <a:gd name="connsiteX17" fmla="*/ 829169 w 2996995"/>
                <a:gd name="connsiteY17" fmla="*/ 1285364 h 2139032"/>
                <a:gd name="connsiteX18" fmla="*/ 875123 w 2996995"/>
                <a:gd name="connsiteY18" fmla="*/ 1003400 h 2139032"/>
                <a:gd name="connsiteX19" fmla="*/ 875123 w 2996995"/>
                <a:gd name="connsiteY19" fmla="*/ 1003400 h 2139032"/>
                <a:gd name="connsiteX20" fmla="*/ 939059 w 2996995"/>
                <a:gd name="connsiteY20" fmla="*/ 1279530 h 2139032"/>
                <a:gd name="connsiteX21" fmla="*/ 1186810 w 2996995"/>
                <a:gd name="connsiteY21" fmla="*/ 2139032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96995" h="2139032">
                  <a:moveTo>
                    <a:pt x="1842153" y="2139032"/>
                  </a:moveTo>
                  <a:lnTo>
                    <a:pt x="2081913" y="1279530"/>
                  </a:lnTo>
                  <a:cubicBezTo>
                    <a:pt x="2107887" y="1178412"/>
                    <a:pt x="2135859" y="1061738"/>
                    <a:pt x="2145849" y="1003400"/>
                  </a:cubicBezTo>
                  <a:lnTo>
                    <a:pt x="2145849" y="1003400"/>
                  </a:lnTo>
                  <a:cubicBezTo>
                    <a:pt x="2145849" y="1048126"/>
                    <a:pt x="2169825" y="1176468"/>
                    <a:pt x="2193801" y="1285364"/>
                  </a:cubicBezTo>
                  <a:lnTo>
                    <a:pt x="2369624" y="2139032"/>
                  </a:lnTo>
                  <a:lnTo>
                    <a:pt x="3028963" y="2139032"/>
                  </a:lnTo>
                  <a:lnTo>
                    <a:pt x="2565428" y="0"/>
                  </a:lnTo>
                  <a:lnTo>
                    <a:pt x="1868127" y="0"/>
                  </a:lnTo>
                  <a:lnTo>
                    <a:pt x="1598398" y="1079239"/>
                  </a:lnTo>
                  <a:cubicBezTo>
                    <a:pt x="1564432" y="1166745"/>
                    <a:pt x="1534462" y="1297031"/>
                    <a:pt x="1518478" y="1361202"/>
                  </a:cubicBezTo>
                  <a:lnTo>
                    <a:pt x="1518478" y="1361202"/>
                  </a:lnTo>
                  <a:cubicBezTo>
                    <a:pt x="1492504" y="1297031"/>
                    <a:pt x="1464532" y="1166745"/>
                    <a:pt x="1440556" y="1079239"/>
                  </a:cubicBezTo>
                  <a:lnTo>
                    <a:pt x="1160836" y="0"/>
                  </a:lnTo>
                  <a:lnTo>
                    <a:pt x="461537" y="0"/>
                  </a:lnTo>
                  <a:lnTo>
                    <a:pt x="0" y="2139032"/>
                  </a:lnTo>
                  <a:lnTo>
                    <a:pt x="659339" y="2139032"/>
                  </a:lnTo>
                  <a:lnTo>
                    <a:pt x="829169" y="1285364"/>
                  </a:lnTo>
                  <a:cubicBezTo>
                    <a:pt x="851147" y="1176468"/>
                    <a:pt x="869129" y="1048126"/>
                    <a:pt x="875123" y="1003400"/>
                  </a:cubicBezTo>
                  <a:lnTo>
                    <a:pt x="875123" y="1003400"/>
                  </a:lnTo>
                  <a:cubicBezTo>
                    <a:pt x="875123" y="1061738"/>
                    <a:pt x="911087" y="1178412"/>
                    <a:pt x="939059" y="1279530"/>
                  </a:cubicBezTo>
                  <a:lnTo>
                    <a:pt x="1186810" y="2139032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00B28476-0912-2549-AA57-F0916BE211CA}"/>
                </a:ext>
              </a:extLst>
            </p:cNvPr>
            <p:cNvSpPr/>
            <p:nvPr/>
          </p:nvSpPr>
          <p:spPr>
            <a:xfrm>
              <a:off x="12830059" y="1683552"/>
              <a:ext cx="1798197" cy="1750117"/>
            </a:xfrm>
            <a:custGeom>
              <a:avLst/>
              <a:gdLst>
                <a:gd name="connsiteX0" fmla="*/ 963990 w 1798197"/>
                <a:gd name="connsiteY0" fmla="*/ 1406 h 1750117"/>
                <a:gd name="connsiteX1" fmla="*/ 1436 w 1798197"/>
                <a:gd name="connsiteY1" fmla="*/ 839168 h 1750117"/>
                <a:gd name="connsiteX2" fmla="*/ 956 w 1798197"/>
                <a:gd name="connsiteY2" fmla="*/ 928968 h 1750117"/>
                <a:gd name="connsiteX3" fmla="*/ 871723 w 1798197"/>
                <a:gd name="connsiteY3" fmla="*/ 1856998 h 1750117"/>
                <a:gd name="connsiteX4" fmla="*/ 963991 w 1798197"/>
                <a:gd name="connsiteY4" fmla="*/ 1856530 h 1750117"/>
                <a:gd name="connsiteX5" fmla="*/ 1924651 w 1798197"/>
                <a:gd name="connsiteY5" fmla="*/ 1016712 h 1750117"/>
                <a:gd name="connsiteX6" fmla="*/ 1925028 w 1798197"/>
                <a:gd name="connsiteY6" fmla="*/ 928968 h 1750117"/>
                <a:gd name="connsiteX7" fmla="*/ 1054145 w 1798197"/>
                <a:gd name="connsiteY7" fmla="*/ 1039 h 1750117"/>
                <a:gd name="connsiteX8" fmla="*/ 963991 w 1798197"/>
                <a:gd name="connsiteY8" fmla="*/ 1406 h 1750117"/>
                <a:gd name="connsiteX9" fmla="*/ 963990 w 1798197"/>
                <a:gd name="connsiteY9" fmla="*/ 1419001 h 1750117"/>
                <a:gd name="connsiteX10" fmla="*/ 600355 w 1798197"/>
                <a:gd name="connsiteY10" fmla="*/ 928968 h 1750117"/>
                <a:gd name="connsiteX11" fmla="*/ 963990 w 1798197"/>
                <a:gd name="connsiteY11" fmla="*/ 435046 h 1750117"/>
                <a:gd name="connsiteX12" fmla="*/ 1325628 w 1798197"/>
                <a:gd name="connsiteY12" fmla="*/ 928968 h 1750117"/>
                <a:gd name="connsiteX13" fmla="*/ 963990 w 1798197"/>
                <a:gd name="connsiteY13" fmla="*/ 1419001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98197" h="1750117">
                  <a:moveTo>
                    <a:pt x="963990" y="1406"/>
                  </a:moveTo>
                  <a:cubicBezTo>
                    <a:pt x="460491" y="-25947"/>
                    <a:pt x="29541" y="349132"/>
                    <a:pt x="1436" y="839168"/>
                  </a:cubicBezTo>
                  <a:cubicBezTo>
                    <a:pt x="-278" y="869074"/>
                    <a:pt x="-439" y="899046"/>
                    <a:pt x="956" y="928968"/>
                  </a:cubicBezTo>
                  <a:cubicBezTo>
                    <a:pt x="-21898" y="1419263"/>
                    <a:pt x="367958" y="1834756"/>
                    <a:pt x="871723" y="1856998"/>
                  </a:cubicBezTo>
                  <a:cubicBezTo>
                    <a:pt x="902467" y="1858356"/>
                    <a:pt x="933262" y="1858199"/>
                    <a:pt x="963991" y="1856530"/>
                  </a:cubicBezTo>
                  <a:cubicBezTo>
                    <a:pt x="1467550" y="1882807"/>
                    <a:pt x="1897653" y="1506807"/>
                    <a:pt x="1924651" y="1016712"/>
                  </a:cubicBezTo>
                  <a:cubicBezTo>
                    <a:pt x="1926261" y="987488"/>
                    <a:pt x="1926387" y="958204"/>
                    <a:pt x="1925028" y="928968"/>
                  </a:cubicBezTo>
                  <a:cubicBezTo>
                    <a:pt x="1947820" y="438670"/>
                    <a:pt x="1557913" y="23223"/>
                    <a:pt x="1054145" y="1039"/>
                  </a:cubicBezTo>
                  <a:cubicBezTo>
                    <a:pt x="1024106" y="-283"/>
                    <a:pt x="994018" y="-161"/>
                    <a:pt x="963991" y="1406"/>
                  </a:cubicBezTo>
                  <a:moveTo>
                    <a:pt x="963990" y="1419001"/>
                  </a:moveTo>
                  <a:cubicBezTo>
                    <a:pt x="704251" y="1419001"/>
                    <a:pt x="600355" y="1208987"/>
                    <a:pt x="600355" y="928968"/>
                  </a:cubicBezTo>
                  <a:cubicBezTo>
                    <a:pt x="600355" y="648949"/>
                    <a:pt x="704251" y="435046"/>
                    <a:pt x="963990" y="435046"/>
                  </a:cubicBezTo>
                  <a:cubicBezTo>
                    <a:pt x="1223730" y="435046"/>
                    <a:pt x="1325628" y="648949"/>
                    <a:pt x="1325628" y="928968"/>
                  </a:cubicBezTo>
                  <a:cubicBezTo>
                    <a:pt x="1325628" y="1208987"/>
                    <a:pt x="1225728" y="1419001"/>
                    <a:pt x="963990" y="1419001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7CF8907-E54B-2A4F-A236-588093535F42}"/>
                </a:ext>
              </a:extLst>
            </p:cNvPr>
            <p:cNvSpPr/>
            <p:nvPr/>
          </p:nvSpPr>
          <p:spPr>
            <a:xfrm>
              <a:off x="21989833" y="1683013"/>
              <a:ext cx="1598398" cy="1750117"/>
            </a:xfrm>
            <a:custGeom>
              <a:avLst/>
              <a:gdLst>
                <a:gd name="connsiteX0" fmla="*/ 565434 w 1598397"/>
                <a:gd name="connsiteY0" fmla="*/ 1227027 h 1750117"/>
                <a:gd name="connsiteX1" fmla="*/ 663335 w 1598397"/>
                <a:gd name="connsiteY1" fmla="*/ 1421484 h 1750117"/>
                <a:gd name="connsiteX2" fmla="*/ 863135 w 1598397"/>
                <a:gd name="connsiteY2" fmla="*/ 1483710 h 1750117"/>
                <a:gd name="connsiteX3" fmla="*/ 1142855 w 1598397"/>
                <a:gd name="connsiteY3" fmla="*/ 1289253 h 1750117"/>
                <a:gd name="connsiteX4" fmla="*/ 857141 w 1598397"/>
                <a:gd name="connsiteY4" fmla="*/ 1112297 h 1750117"/>
                <a:gd name="connsiteX5" fmla="*/ 9991 w 1598397"/>
                <a:gd name="connsiteY5" fmla="*/ 538647 h 1750117"/>
                <a:gd name="connsiteX6" fmla="*/ 849149 w 1598397"/>
                <a:gd name="connsiteY6" fmla="*/ 0 h 1750117"/>
                <a:gd name="connsiteX7" fmla="*/ 1680316 w 1598397"/>
                <a:gd name="connsiteY7" fmla="*/ 567816 h 1750117"/>
                <a:gd name="connsiteX8" fmla="*/ 1126870 w 1598397"/>
                <a:gd name="connsiteY8" fmla="*/ 567816 h 1750117"/>
                <a:gd name="connsiteX9" fmla="*/ 1056941 w 1598397"/>
                <a:gd name="connsiteY9" fmla="*/ 416139 h 1750117"/>
                <a:gd name="connsiteX10" fmla="*/ 877121 w 1598397"/>
                <a:gd name="connsiteY10" fmla="*/ 371414 h 1750117"/>
                <a:gd name="connsiteX11" fmla="*/ 623376 w 1598397"/>
                <a:gd name="connsiteY11" fmla="*/ 503645 h 1750117"/>
                <a:gd name="connsiteX12" fmla="*/ 1306690 w 1598397"/>
                <a:gd name="connsiteY12" fmla="*/ 756440 h 1750117"/>
                <a:gd name="connsiteX13" fmla="*/ 1764232 w 1598397"/>
                <a:gd name="connsiteY13" fmla="*/ 1230916 h 1750117"/>
                <a:gd name="connsiteX14" fmla="*/ 883114 w 1598397"/>
                <a:gd name="connsiteY14" fmla="*/ 1855124 h 1750117"/>
                <a:gd name="connsiteX15" fmla="*/ 0 w 1598397"/>
                <a:gd name="connsiteY15" fmla="*/ 1227027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98397" h="1750117">
                  <a:moveTo>
                    <a:pt x="565434" y="1227027"/>
                  </a:moveTo>
                  <a:cubicBezTo>
                    <a:pt x="562613" y="1303699"/>
                    <a:pt x="599352" y="1376670"/>
                    <a:pt x="663335" y="1421484"/>
                  </a:cubicBezTo>
                  <a:cubicBezTo>
                    <a:pt x="721521" y="1462225"/>
                    <a:pt x="791457" y="1484006"/>
                    <a:pt x="863135" y="1483710"/>
                  </a:cubicBezTo>
                  <a:cubicBezTo>
                    <a:pt x="979019" y="1483711"/>
                    <a:pt x="1142855" y="1435096"/>
                    <a:pt x="1142855" y="1289253"/>
                  </a:cubicBezTo>
                  <a:cubicBezTo>
                    <a:pt x="1142855" y="1143410"/>
                    <a:pt x="967031" y="1135632"/>
                    <a:pt x="857141" y="1112297"/>
                  </a:cubicBezTo>
                  <a:cubicBezTo>
                    <a:pt x="491507" y="1018957"/>
                    <a:pt x="9991" y="1018957"/>
                    <a:pt x="9991" y="538647"/>
                  </a:cubicBezTo>
                  <a:cubicBezTo>
                    <a:pt x="9991" y="114730"/>
                    <a:pt x="495504" y="0"/>
                    <a:pt x="849149" y="0"/>
                  </a:cubicBezTo>
                  <a:cubicBezTo>
                    <a:pt x="1248748" y="0"/>
                    <a:pt x="1660335" y="112785"/>
                    <a:pt x="1680316" y="567816"/>
                  </a:cubicBezTo>
                  <a:lnTo>
                    <a:pt x="1126870" y="567816"/>
                  </a:lnTo>
                  <a:cubicBezTo>
                    <a:pt x="1132861" y="508762"/>
                    <a:pt x="1106249" y="451042"/>
                    <a:pt x="1056941" y="416139"/>
                  </a:cubicBezTo>
                  <a:cubicBezTo>
                    <a:pt x="1002817" y="384359"/>
                    <a:pt x="940274" y="368803"/>
                    <a:pt x="877121" y="371414"/>
                  </a:cubicBezTo>
                  <a:cubicBezTo>
                    <a:pt x="779219" y="371414"/>
                    <a:pt x="623376" y="383081"/>
                    <a:pt x="623376" y="503645"/>
                  </a:cubicBezTo>
                  <a:cubicBezTo>
                    <a:pt x="623376" y="668934"/>
                    <a:pt x="1034962" y="698102"/>
                    <a:pt x="1306690" y="756440"/>
                  </a:cubicBezTo>
                  <a:cubicBezTo>
                    <a:pt x="1559004" y="782271"/>
                    <a:pt x="1753730" y="984205"/>
                    <a:pt x="1764232" y="1230916"/>
                  </a:cubicBezTo>
                  <a:cubicBezTo>
                    <a:pt x="1764232" y="1699558"/>
                    <a:pt x="1290706" y="1855124"/>
                    <a:pt x="883114" y="1855124"/>
                  </a:cubicBezTo>
                  <a:cubicBezTo>
                    <a:pt x="475523" y="1855124"/>
                    <a:pt x="17983" y="1717059"/>
                    <a:pt x="0" y="1227027"/>
                  </a:cubicBez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sp>
        <p:nvSpPr>
          <p:cNvPr id="39" name="Retângulo 43">
            <a:extLst>
              <a:ext uri="{FF2B5EF4-FFF2-40B4-BE49-F238E27FC236}">
                <a16:creationId xmlns:a16="http://schemas.microsoft.com/office/drawing/2014/main" id="{7200C2F0-D8AD-4C75-867F-7361A0B6CEC8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02FE2EB8-3F60-47E8-979A-A9860CAFB000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© Capgemini 2021. All rights reserved  |</a:t>
            </a:r>
          </a:p>
        </p:txBody>
      </p:sp>
      <p:pic>
        <p:nvPicPr>
          <p:cNvPr id="3" name="Picture 2" descr="A picture containing shirt&#10;&#10;Description automatically generated">
            <a:extLst>
              <a:ext uri="{FF2B5EF4-FFF2-40B4-BE49-F238E27FC236}">
                <a16:creationId xmlns:a16="http://schemas.microsoft.com/office/drawing/2014/main" id="{54E78214-F2A1-469B-AC3F-BF5ED1E757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87" y="113312"/>
            <a:ext cx="1951701" cy="791127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403132B9-8BC7-4CDB-878E-69AE91441669}"/>
              </a:ext>
            </a:extLst>
          </p:cNvPr>
          <p:cNvSpPr txBox="1"/>
          <p:nvPr userDrawn="1"/>
        </p:nvSpPr>
        <p:spPr>
          <a:xfrm>
            <a:off x="1811306" y="366549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FOR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5052" y="4792727"/>
            <a:ext cx="5143497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84396" y="3724339"/>
            <a:ext cx="5164613" cy="1068388"/>
          </a:xfrm>
          <a:prstGeom prst="rect">
            <a:avLst/>
          </a:prstGeom>
        </p:spPr>
        <p:txBody>
          <a:bodyPr lIns="0" anchor="ctr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2" name="Retângulo 43">
            <a:extLst>
              <a:ext uri="{FF2B5EF4-FFF2-40B4-BE49-F238E27FC236}">
                <a16:creationId xmlns:a16="http://schemas.microsoft.com/office/drawing/2014/main" id="{0A191DDB-E3D0-4307-94AA-79BF0E544D0E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7FAAC23-2B2E-4F71-B19C-4AD1AF5133F4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© Capgemini 2021. All rights reserved  |</a:t>
            </a:r>
          </a:p>
        </p:txBody>
      </p:sp>
      <p:grpSp>
        <p:nvGrpSpPr>
          <p:cNvPr id="27" name="Graphic 8">
            <a:extLst>
              <a:ext uri="{FF2B5EF4-FFF2-40B4-BE49-F238E27FC236}">
                <a16:creationId xmlns:a16="http://schemas.microsoft.com/office/drawing/2014/main" id="{25FD6927-7286-45AB-B645-8E082D67E64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44472" y="322457"/>
            <a:ext cx="1547154" cy="184040"/>
            <a:chOff x="5664200" y="1340768"/>
            <a:chExt cx="17981972" cy="2139032"/>
          </a:xfrm>
          <a:solidFill>
            <a:schemeClr val="bg1"/>
          </a:solidFill>
        </p:grpSpPr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A01D939B-C59B-44DC-9B89-E7B93F9BB9B5}"/>
                </a:ext>
              </a:extLst>
            </p:cNvPr>
            <p:cNvSpPr/>
            <p:nvPr/>
          </p:nvSpPr>
          <p:spPr>
            <a:xfrm>
              <a:off x="8644870" y="1684010"/>
              <a:ext cx="1798197" cy="1750117"/>
            </a:xfrm>
            <a:custGeom>
              <a:avLst/>
              <a:gdLst>
                <a:gd name="connsiteX0" fmla="*/ 1281057 w 1798197"/>
                <a:gd name="connsiteY0" fmla="*/ 693217 h 1750117"/>
                <a:gd name="connsiteX1" fmla="*/ 987352 w 1798197"/>
                <a:gd name="connsiteY1" fmla="*/ 434588 h 1750117"/>
                <a:gd name="connsiteX2" fmla="*/ 601738 w 1798197"/>
                <a:gd name="connsiteY2" fmla="*/ 951845 h 1750117"/>
                <a:gd name="connsiteX3" fmla="*/ 957381 w 1798197"/>
                <a:gd name="connsiteY3" fmla="*/ 1406876 h 1750117"/>
                <a:gd name="connsiteX4" fmla="*/ 1298555 w 1798197"/>
                <a:gd name="connsiteY4" fmla="*/ 1122384 h 1750117"/>
                <a:gd name="connsiteX5" fmla="*/ 1299039 w 1798197"/>
                <a:gd name="connsiteY5" fmla="*/ 1115189 h 1750117"/>
                <a:gd name="connsiteX6" fmla="*/ 1880456 w 1798197"/>
                <a:gd name="connsiteY6" fmla="*/ 1115189 h 1750117"/>
                <a:gd name="connsiteX7" fmla="*/ 959379 w 1798197"/>
                <a:gd name="connsiteY7" fmla="*/ 1854128 h 1750117"/>
                <a:gd name="connsiteX8" fmla="*/ 3708 w 1798197"/>
                <a:gd name="connsiteY8" fmla="*/ 1029520 h 1750117"/>
                <a:gd name="connsiteX9" fmla="*/ 2339 w 1798197"/>
                <a:gd name="connsiteY9" fmla="*/ 955734 h 1750117"/>
                <a:gd name="connsiteX10" fmla="*/ 852209 w 1798197"/>
                <a:gd name="connsiteY10" fmla="*/ 2239 h 1750117"/>
                <a:gd name="connsiteX11" fmla="*/ 959379 w 1798197"/>
                <a:gd name="connsiteY11" fmla="*/ 948 h 1750117"/>
                <a:gd name="connsiteX12" fmla="*/ 1862474 w 1798197"/>
                <a:gd name="connsiteY12" fmla="*/ 693217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8197" h="1750117">
                  <a:moveTo>
                    <a:pt x="1281057" y="693217"/>
                  </a:moveTo>
                  <a:cubicBezTo>
                    <a:pt x="1272452" y="543270"/>
                    <a:pt x="1141507" y="427964"/>
                    <a:pt x="987352" y="434588"/>
                  </a:cubicBezTo>
                  <a:cubicBezTo>
                    <a:pt x="653686" y="434588"/>
                    <a:pt x="601738" y="708773"/>
                    <a:pt x="601738" y="951845"/>
                  </a:cubicBezTo>
                  <a:cubicBezTo>
                    <a:pt x="601738" y="1194917"/>
                    <a:pt x="703636" y="1406876"/>
                    <a:pt x="957381" y="1406876"/>
                  </a:cubicBezTo>
                  <a:cubicBezTo>
                    <a:pt x="1132312" y="1420009"/>
                    <a:pt x="1285061" y="1292638"/>
                    <a:pt x="1298555" y="1122384"/>
                  </a:cubicBezTo>
                  <a:cubicBezTo>
                    <a:pt x="1298745" y="1119988"/>
                    <a:pt x="1298906" y="1117589"/>
                    <a:pt x="1299039" y="1115189"/>
                  </a:cubicBezTo>
                  <a:lnTo>
                    <a:pt x="1880456" y="1115189"/>
                  </a:lnTo>
                  <a:cubicBezTo>
                    <a:pt x="1826510" y="1583832"/>
                    <a:pt x="1446891" y="1854128"/>
                    <a:pt x="959379" y="1854128"/>
                  </a:cubicBezTo>
                  <a:cubicBezTo>
                    <a:pt x="461513" y="1883264"/>
                    <a:pt x="33645" y="1514074"/>
                    <a:pt x="3708" y="1029520"/>
                  </a:cubicBezTo>
                  <a:cubicBezTo>
                    <a:pt x="2191" y="1004954"/>
                    <a:pt x="1734" y="980337"/>
                    <a:pt x="2339" y="955734"/>
                  </a:cubicBezTo>
                  <a:cubicBezTo>
                    <a:pt x="-33510" y="464023"/>
                    <a:pt x="346990" y="37129"/>
                    <a:pt x="852209" y="2239"/>
                  </a:cubicBezTo>
                  <a:cubicBezTo>
                    <a:pt x="887876" y="-225"/>
                    <a:pt x="923660" y="-655"/>
                    <a:pt x="959379" y="948"/>
                  </a:cubicBezTo>
                  <a:cubicBezTo>
                    <a:pt x="1414923" y="948"/>
                    <a:pt x="1814522" y="240131"/>
                    <a:pt x="1862474" y="693217"/>
                  </a:cubicBezTo>
                  <a:close/>
                </a:path>
              </a:pathLst>
            </a:custGeom>
            <a:grpFill/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670E25DB-AA65-4B43-8463-8110F16AC5BC}"/>
                </a:ext>
              </a:extLst>
            </p:cNvPr>
            <p:cNvSpPr/>
            <p:nvPr/>
          </p:nvSpPr>
          <p:spPr>
            <a:xfrm>
              <a:off x="14874966" y="1682397"/>
              <a:ext cx="1798197" cy="1750117"/>
            </a:xfrm>
            <a:custGeom>
              <a:avLst/>
              <a:gdLst>
                <a:gd name="connsiteX0" fmla="*/ 9991 w 1798197"/>
                <a:gd name="connsiteY0" fmla="*/ 47285 h 1750117"/>
                <a:gd name="connsiteX1" fmla="*/ 589409 w 1798197"/>
                <a:gd name="connsiteY1" fmla="*/ 47285 h 1750117"/>
                <a:gd name="connsiteX2" fmla="*/ 589409 w 1798197"/>
                <a:gd name="connsiteY2" fmla="*/ 300080 h 1750117"/>
                <a:gd name="connsiteX3" fmla="*/ 589409 w 1798197"/>
                <a:gd name="connsiteY3" fmla="*/ 300080 h 1750117"/>
                <a:gd name="connsiteX4" fmla="*/ 1140856 w 1798197"/>
                <a:gd name="connsiteY4" fmla="*/ 616 h 1750117"/>
                <a:gd name="connsiteX5" fmla="*/ 1822174 w 1798197"/>
                <a:gd name="connsiteY5" fmla="*/ 679272 h 1750117"/>
                <a:gd name="connsiteX6" fmla="*/ 1822174 w 1798197"/>
                <a:gd name="connsiteY6" fmla="*/ 1797403 h 1750117"/>
                <a:gd name="connsiteX7" fmla="*/ 1222775 w 1798197"/>
                <a:gd name="connsiteY7" fmla="*/ 1797403 h 1750117"/>
                <a:gd name="connsiteX8" fmla="*/ 1222775 w 1798197"/>
                <a:gd name="connsiteY8" fmla="*/ 957346 h 1750117"/>
                <a:gd name="connsiteX9" fmla="*/ 923075 w 1798197"/>
                <a:gd name="connsiteY9" fmla="*/ 473147 h 1750117"/>
                <a:gd name="connsiteX10" fmla="*/ 599399 w 1798197"/>
                <a:gd name="connsiteY10" fmla="*/ 895120 h 1750117"/>
                <a:gd name="connsiteX11" fmla="*/ 599399 w 1798197"/>
                <a:gd name="connsiteY11" fmla="*/ 1797403 h 1750117"/>
                <a:gd name="connsiteX12" fmla="*/ 0 w 1798197"/>
                <a:gd name="connsiteY12" fmla="*/ 1797403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8197" h="1750117">
                  <a:moveTo>
                    <a:pt x="9991" y="47285"/>
                  </a:moveTo>
                  <a:lnTo>
                    <a:pt x="589409" y="47285"/>
                  </a:lnTo>
                  <a:lnTo>
                    <a:pt x="589409" y="300080"/>
                  </a:lnTo>
                  <a:lnTo>
                    <a:pt x="589409" y="300080"/>
                  </a:lnTo>
                  <a:cubicBezTo>
                    <a:pt x="699916" y="106473"/>
                    <a:pt x="913537" y="-9534"/>
                    <a:pt x="1140856" y="616"/>
                  </a:cubicBezTo>
                  <a:cubicBezTo>
                    <a:pt x="1740256" y="616"/>
                    <a:pt x="1822174" y="426477"/>
                    <a:pt x="1822174" y="679272"/>
                  </a:cubicBezTo>
                  <a:lnTo>
                    <a:pt x="1822174" y="1797403"/>
                  </a:lnTo>
                  <a:lnTo>
                    <a:pt x="1222775" y="1797403"/>
                  </a:lnTo>
                  <a:lnTo>
                    <a:pt x="1222775" y="957346"/>
                  </a:lnTo>
                  <a:cubicBezTo>
                    <a:pt x="1222775" y="718164"/>
                    <a:pt x="1234762" y="473147"/>
                    <a:pt x="923075" y="473147"/>
                  </a:cubicBezTo>
                  <a:cubicBezTo>
                    <a:pt x="723275" y="473147"/>
                    <a:pt x="599399" y="638436"/>
                    <a:pt x="599399" y="895120"/>
                  </a:cubicBezTo>
                  <a:lnTo>
                    <a:pt x="599399" y="1797403"/>
                  </a:lnTo>
                  <a:lnTo>
                    <a:pt x="0" y="1797403"/>
                  </a:lnTo>
                  <a:close/>
                </a:path>
              </a:pathLst>
            </a:custGeom>
            <a:grpFill/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B572A933-39EE-487B-B5C8-F024F57123BA}"/>
                </a:ext>
              </a:extLst>
            </p:cNvPr>
            <p:cNvSpPr/>
            <p:nvPr/>
          </p:nvSpPr>
          <p:spPr>
            <a:xfrm>
              <a:off x="16836998" y="1682369"/>
              <a:ext cx="1798197" cy="1750117"/>
            </a:xfrm>
            <a:custGeom>
              <a:avLst/>
              <a:gdLst>
                <a:gd name="connsiteX0" fmla="*/ 67932 w 1798197"/>
                <a:gd name="connsiteY0" fmla="*/ 591795 h 1750117"/>
                <a:gd name="connsiteX1" fmla="*/ 353646 w 1798197"/>
                <a:gd name="connsiteY1" fmla="*/ 123152 h 1750117"/>
                <a:gd name="connsiteX2" fmla="*/ 935063 w 1798197"/>
                <a:gd name="connsiteY2" fmla="*/ 644 h 1750117"/>
                <a:gd name="connsiteX3" fmla="*/ 1786210 w 1798197"/>
                <a:gd name="connsiteY3" fmla="*/ 584016 h 1750117"/>
                <a:gd name="connsiteX4" fmla="*/ 1786210 w 1798197"/>
                <a:gd name="connsiteY4" fmla="*/ 1356012 h 1750117"/>
                <a:gd name="connsiteX5" fmla="*/ 1858138 w 1798197"/>
                <a:gd name="connsiteY5" fmla="*/ 1797431 h 1750117"/>
                <a:gd name="connsiteX6" fmla="*/ 1258739 w 1798197"/>
                <a:gd name="connsiteY6" fmla="*/ 1797431 h 1750117"/>
                <a:gd name="connsiteX7" fmla="*/ 1222775 w 1798197"/>
                <a:gd name="connsiteY7" fmla="*/ 1632142 h 1750117"/>
                <a:gd name="connsiteX8" fmla="*/ 623376 w 1798197"/>
                <a:gd name="connsiteY8" fmla="*/ 1847990 h 1750117"/>
                <a:gd name="connsiteX9" fmla="*/ 0 w 1798197"/>
                <a:gd name="connsiteY9" fmla="*/ 1317121 h 1750117"/>
                <a:gd name="connsiteX10" fmla="*/ 1062935 w 1798197"/>
                <a:gd name="connsiteY10" fmla="*/ 710414 h 1750117"/>
                <a:gd name="connsiteX11" fmla="*/ 1222775 w 1798197"/>
                <a:gd name="connsiteY11" fmla="*/ 547069 h 1750117"/>
                <a:gd name="connsiteX12" fmla="*/ 933065 w 1798197"/>
                <a:gd name="connsiteY12" fmla="*/ 366224 h 1750117"/>
                <a:gd name="connsiteX13" fmla="*/ 633365 w 1798197"/>
                <a:gd name="connsiteY13" fmla="*/ 584016 h 1750117"/>
                <a:gd name="connsiteX14" fmla="*/ 843155 w 1798197"/>
                <a:gd name="connsiteY14" fmla="*/ 1499911 h 1750117"/>
                <a:gd name="connsiteX15" fmla="*/ 1208789 w 1798197"/>
                <a:gd name="connsiteY15" fmla="*/ 984599 h 1750117"/>
                <a:gd name="connsiteX16" fmla="*/ 839160 w 1798197"/>
                <a:gd name="connsiteY16" fmla="*/ 1077938 h 1750117"/>
                <a:gd name="connsiteX17" fmla="*/ 593405 w 1798197"/>
                <a:gd name="connsiteY17" fmla="*/ 1301564 h 1750117"/>
                <a:gd name="connsiteX18" fmla="*/ 843155 w 1798197"/>
                <a:gd name="connsiteY18" fmla="*/ 1496022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98197" h="1750117">
                  <a:moveTo>
                    <a:pt x="67932" y="591795"/>
                  </a:moveTo>
                  <a:cubicBezTo>
                    <a:pt x="68543" y="396642"/>
                    <a:pt x="177947" y="217193"/>
                    <a:pt x="353646" y="123152"/>
                  </a:cubicBezTo>
                  <a:cubicBezTo>
                    <a:pt x="534107" y="36279"/>
                    <a:pt x="733842" y="-5806"/>
                    <a:pt x="935063" y="644"/>
                  </a:cubicBezTo>
                  <a:cubicBezTo>
                    <a:pt x="1366630" y="644"/>
                    <a:pt x="1786210" y="92039"/>
                    <a:pt x="1786210" y="584016"/>
                  </a:cubicBezTo>
                  <a:lnTo>
                    <a:pt x="1786210" y="1356012"/>
                  </a:lnTo>
                  <a:cubicBezTo>
                    <a:pt x="1775222" y="1506568"/>
                    <a:pt x="1799827" y="1657572"/>
                    <a:pt x="1858138" y="1797431"/>
                  </a:cubicBezTo>
                  <a:lnTo>
                    <a:pt x="1258739" y="1797431"/>
                  </a:lnTo>
                  <a:cubicBezTo>
                    <a:pt x="1239900" y="1743960"/>
                    <a:pt x="1227823" y="1688455"/>
                    <a:pt x="1222775" y="1632142"/>
                  </a:cubicBezTo>
                  <a:cubicBezTo>
                    <a:pt x="1060166" y="1778408"/>
                    <a:pt x="844642" y="1856020"/>
                    <a:pt x="623376" y="1847990"/>
                  </a:cubicBezTo>
                  <a:cubicBezTo>
                    <a:pt x="273726" y="1847990"/>
                    <a:pt x="0" y="1678812"/>
                    <a:pt x="0" y="1317121"/>
                  </a:cubicBezTo>
                  <a:cubicBezTo>
                    <a:pt x="0" y="747361"/>
                    <a:pt x="647351" y="790141"/>
                    <a:pt x="1062935" y="710414"/>
                  </a:cubicBezTo>
                  <a:cubicBezTo>
                    <a:pt x="1164833" y="689023"/>
                    <a:pt x="1222775" y="655966"/>
                    <a:pt x="1222775" y="547069"/>
                  </a:cubicBezTo>
                  <a:cubicBezTo>
                    <a:pt x="1222775" y="438173"/>
                    <a:pt x="1056941" y="366224"/>
                    <a:pt x="933065" y="366224"/>
                  </a:cubicBezTo>
                  <a:cubicBezTo>
                    <a:pt x="788695" y="346522"/>
                    <a:pt x="654972" y="443699"/>
                    <a:pt x="633365" y="584016"/>
                  </a:cubicBezTo>
                  <a:close/>
                  <a:moveTo>
                    <a:pt x="843155" y="1499911"/>
                  </a:moveTo>
                  <a:cubicBezTo>
                    <a:pt x="1126871" y="1499911"/>
                    <a:pt x="1222775" y="1346290"/>
                    <a:pt x="1208789" y="984599"/>
                  </a:cubicBezTo>
                  <a:cubicBezTo>
                    <a:pt x="1089639" y="1029330"/>
                    <a:pt x="965624" y="1060647"/>
                    <a:pt x="839160" y="1077938"/>
                  </a:cubicBezTo>
                  <a:cubicBezTo>
                    <a:pt x="705293" y="1109052"/>
                    <a:pt x="593405" y="1163500"/>
                    <a:pt x="593405" y="1301564"/>
                  </a:cubicBezTo>
                  <a:cubicBezTo>
                    <a:pt x="593405" y="1439629"/>
                    <a:pt x="709290" y="1496022"/>
                    <a:pt x="843155" y="1496022"/>
                  </a:cubicBezTo>
                </a:path>
              </a:pathLst>
            </a:custGeom>
            <a:grpFill/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46F295CE-9B6F-412B-9E81-4792C7692995}"/>
                </a:ext>
              </a:extLst>
            </p:cNvPr>
            <p:cNvSpPr/>
            <p:nvPr/>
          </p:nvSpPr>
          <p:spPr>
            <a:xfrm>
              <a:off x="18819012" y="1344657"/>
              <a:ext cx="599399" cy="2139032"/>
            </a:xfrm>
            <a:custGeom>
              <a:avLst/>
              <a:gdLst>
                <a:gd name="connsiteX0" fmla="*/ -1 w 599399"/>
                <a:gd name="connsiteY0" fmla="*/ 0 h 2139032"/>
                <a:gd name="connsiteX1" fmla="*/ 599398 w 599399"/>
                <a:gd name="connsiteY1" fmla="*/ 0 h 2139032"/>
                <a:gd name="connsiteX2" fmla="*/ 599398 w 599399"/>
                <a:gd name="connsiteY2" fmla="*/ 2142921 h 2139032"/>
                <a:gd name="connsiteX3" fmla="*/ -1 w 599399"/>
                <a:gd name="connsiteY3" fmla="*/ 2142921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9399" h="2139032">
                  <a:moveTo>
                    <a:pt x="-1" y="0"/>
                  </a:moveTo>
                  <a:lnTo>
                    <a:pt x="599398" y="0"/>
                  </a:lnTo>
                  <a:lnTo>
                    <a:pt x="599398" y="2142921"/>
                  </a:lnTo>
                  <a:lnTo>
                    <a:pt x="-1" y="2142921"/>
                  </a:lnTo>
                  <a:close/>
                </a:path>
              </a:pathLst>
            </a:custGeom>
            <a:grpFill/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D68A1FCD-3AC6-4374-9809-FABC1E3706C0}"/>
                </a:ext>
              </a:extLst>
            </p:cNvPr>
            <p:cNvSpPr/>
            <p:nvPr/>
          </p:nvSpPr>
          <p:spPr>
            <a:xfrm>
              <a:off x="19550279" y="1340768"/>
              <a:ext cx="1798197" cy="2139032"/>
            </a:xfrm>
            <a:custGeom>
              <a:avLst/>
              <a:gdLst>
                <a:gd name="connsiteX0" fmla="*/ 1898097 w 1798197"/>
                <a:gd name="connsiteY0" fmla="*/ 2139032 h 2139032"/>
                <a:gd name="connsiteX1" fmla="*/ 1320676 w 1798197"/>
                <a:gd name="connsiteY1" fmla="*/ 2139032 h 2139032"/>
                <a:gd name="connsiteX2" fmla="*/ 1320676 w 1798197"/>
                <a:gd name="connsiteY2" fmla="*/ 1944575 h 2139032"/>
                <a:gd name="connsiteX3" fmla="*/ 1320676 w 1798197"/>
                <a:gd name="connsiteY3" fmla="*/ 1944575 h 2139032"/>
                <a:gd name="connsiteX4" fmla="*/ 817182 w 1798197"/>
                <a:gd name="connsiteY4" fmla="*/ 2199314 h 2139032"/>
                <a:gd name="connsiteX5" fmla="*/ 0 w 1798197"/>
                <a:gd name="connsiteY5" fmla="*/ 1227027 h 2139032"/>
                <a:gd name="connsiteX6" fmla="*/ 771227 w 1798197"/>
                <a:gd name="connsiteY6" fmla="*/ 338356 h 2139032"/>
                <a:gd name="connsiteX7" fmla="*/ 1284712 w 1798197"/>
                <a:gd name="connsiteY7" fmla="*/ 583372 h 2139032"/>
                <a:gd name="connsiteX8" fmla="*/ 1284712 w 1798197"/>
                <a:gd name="connsiteY8" fmla="*/ 583372 h 2139032"/>
                <a:gd name="connsiteX9" fmla="*/ 1284712 w 1798197"/>
                <a:gd name="connsiteY9" fmla="*/ 0 h 2139032"/>
                <a:gd name="connsiteX10" fmla="*/ 1884111 w 1798197"/>
                <a:gd name="connsiteY10" fmla="*/ 0 h 2139032"/>
                <a:gd name="connsiteX11" fmla="*/ 597401 w 1798197"/>
                <a:gd name="connsiteY11" fmla="*/ 1244528 h 2139032"/>
                <a:gd name="connsiteX12" fmla="*/ 965033 w 1798197"/>
                <a:gd name="connsiteY12" fmla="*/ 1750117 h 2139032"/>
                <a:gd name="connsiteX13" fmla="*/ 1320676 w 1798197"/>
                <a:gd name="connsiteY13" fmla="*/ 1260084 h 2139032"/>
                <a:gd name="connsiteX14" fmla="*/ 959039 w 1798197"/>
                <a:gd name="connsiteY14" fmla="*/ 777830 h 2139032"/>
                <a:gd name="connsiteX15" fmla="*/ 591407 w 1798197"/>
                <a:gd name="connsiteY15" fmla="*/ 1248417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98197" h="2139032">
                  <a:moveTo>
                    <a:pt x="1898097" y="2139032"/>
                  </a:moveTo>
                  <a:lnTo>
                    <a:pt x="1320676" y="2139032"/>
                  </a:lnTo>
                  <a:lnTo>
                    <a:pt x="1320676" y="1944575"/>
                  </a:lnTo>
                  <a:lnTo>
                    <a:pt x="1320676" y="1944575"/>
                  </a:lnTo>
                  <a:cubicBezTo>
                    <a:pt x="1209173" y="2108272"/>
                    <a:pt x="1018907" y="2204536"/>
                    <a:pt x="817182" y="2199314"/>
                  </a:cubicBezTo>
                  <a:cubicBezTo>
                    <a:pt x="241757" y="2199314"/>
                    <a:pt x="0" y="1726782"/>
                    <a:pt x="0" y="1227027"/>
                  </a:cubicBezTo>
                  <a:cubicBezTo>
                    <a:pt x="0" y="771996"/>
                    <a:pt x="251748" y="338356"/>
                    <a:pt x="771227" y="338356"/>
                  </a:cubicBezTo>
                  <a:cubicBezTo>
                    <a:pt x="973505" y="332283"/>
                    <a:pt x="1165764" y="424022"/>
                    <a:pt x="1284712" y="583372"/>
                  </a:cubicBezTo>
                  <a:lnTo>
                    <a:pt x="1284712" y="583372"/>
                  </a:lnTo>
                  <a:lnTo>
                    <a:pt x="1284712" y="0"/>
                  </a:lnTo>
                  <a:lnTo>
                    <a:pt x="1884111" y="0"/>
                  </a:lnTo>
                  <a:close/>
                  <a:moveTo>
                    <a:pt x="597401" y="1244528"/>
                  </a:moveTo>
                  <a:cubicBezTo>
                    <a:pt x="597401" y="1483710"/>
                    <a:pt x="689308" y="1750117"/>
                    <a:pt x="965033" y="1750117"/>
                  </a:cubicBezTo>
                  <a:cubicBezTo>
                    <a:pt x="1240756" y="1750117"/>
                    <a:pt x="1320676" y="1483710"/>
                    <a:pt x="1320676" y="1260084"/>
                  </a:cubicBezTo>
                  <a:cubicBezTo>
                    <a:pt x="1320676" y="1036458"/>
                    <a:pt x="1218778" y="777830"/>
                    <a:pt x="959039" y="777830"/>
                  </a:cubicBezTo>
                  <a:cubicBezTo>
                    <a:pt x="699299" y="777830"/>
                    <a:pt x="591407" y="1024791"/>
                    <a:pt x="591407" y="1248417"/>
                  </a:cubicBezTo>
                </a:path>
              </a:pathLst>
            </a:custGeom>
            <a:grpFill/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FAB8E717-CA2D-4DFA-B678-F0975BD48788}"/>
                </a:ext>
              </a:extLst>
            </p:cNvPr>
            <p:cNvSpPr/>
            <p:nvPr/>
          </p:nvSpPr>
          <p:spPr>
            <a:xfrm>
              <a:off x="21566257" y="1344657"/>
              <a:ext cx="399599" cy="388915"/>
            </a:xfrm>
            <a:custGeom>
              <a:avLst/>
              <a:gdLst>
                <a:gd name="connsiteX0" fmla="*/ 281718 w 399599"/>
                <a:gd name="connsiteY0" fmla="*/ 579483 h 388914"/>
                <a:gd name="connsiteX1" fmla="*/ 0 w 399599"/>
                <a:gd name="connsiteY1" fmla="*/ 579483 h 388914"/>
                <a:gd name="connsiteX2" fmla="*/ 0 w 399599"/>
                <a:gd name="connsiteY2" fmla="*/ 0 h 388914"/>
                <a:gd name="connsiteX3" fmla="*/ 561438 w 399599"/>
                <a:gd name="connsiteY3" fmla="*/ 0 h 388914"/>
                <a:gd name="connsiteX4" fmla="*/ 281718 w 399599"/>
                <a:gd name="connsiteY4" fmla="*/ 579483 h 38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599" h="388914">
                  <a:moveTo>
                    <a:pt x="281718" y="579483"/>
                  </a:moveTo>
                  <a:lnTo>
                    <a:pt x="0" y="579483"/>
                  </a:lnTo>
                  <a:lnTo>
                    <a:pt x="0" y="0"/>
                  </a:lnTo>
                  <a:lnTo>
                    <a:pt x="561438" y="0"/>
                  </a:lnTo>
                  <a:lnTo>
                    <a:pt x="281718" y="579483"/>
                  </a:lnTo>
                  <a:close/>
                </a:path>
              </a:pathLst>
            </a:custGeom>
            <a:grpFill/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1" name="Freeform 33">
              <a:extLst>
                <a:ext uri="{FF2B5EF4-FFF2-40B4-BE49-F238E27FC236}">
                  <a16:creationId xmlns:a16="http://schemas.microsoft.com/office/drawing/2014/main" id="{3D7951A8-C1B8-42E1-8D74-709F4196D9EA}"/>
                </a:ext>
              </a:extLst>
            </p:cNvPr>
            <p:cNvSpPr/>
            <p:nvPr/>
          </p:nvSpPr>
          <p:spPr>
            <a:xfrm>
              <a:off x="10659192" y="1340768"/>
              <a:ext cx="1997997" cy="2139032"/>
            </a:xfrm>
            <a:custGeom>
              <a:avLst/>
              <a:gdLst>
                <a:gd name="connsiteX0" fmla="*/ 951047 w 1997996"/>
                <a:gd name="connsiteY0" fmla="*/ 0 h 2139032"/>
                <a:gd name="connsiteX1" fmla="*/ 0 w 1997996"/>
                <a:gd name="connsiteY1" fmla="*/ 0 h 2139032"/>
                <a:gd name="connsiteX2" fmla="*/ 0 w 1997996"/>
                <a:gd name="connsiteY2" fmla="*/ 2139032 h 2139032"/>
                <a:gd name="connsiteX3" fmla="*/ 961036 w 1997996"/>
                <a:gd name="connsiteY3" fmla="*/ 2139032 h 2139032"/>
                <a:gd name="connsiteX4" fmla="*/ 2057937 w 1997996"/>
                <a:gd name="connsiteY4" fmla="*/ 1057849 h 2139032"/>
                <a:gd name="connsiteX5" fmla="*/ 951047 w 1997996"/>
                <a:gd name="connsiteY5" fmla="*/ 0 h 2139032"/>
                <a:gd name="connsiteX6" fmla="*/ 897101 w 1997996"/>
                <a:gd name="connsiteY6" fmla="*/ 1645110 h 2139032"/>
                <a:gd name="connsiteX7" fmla="*/ 629369 w 1997996"/>
                <a:gd name="connsiteY7" fmla="*/ 1645110 h 2139032"/>
                <a:gd name="connsiteX8" fmla="*/ 629369 w 1997996"/>
                <a:gd name="connsiteY8" fmla="*/ 499756 h 2139032"/>
                <a:gd name="connsiteX9" fmla="*/ 897101 w 1997996"/>
                <a:gd name="connsiteY9" fmla="*/ 499756 h 2139032"/>
                <a:gd name="connsiteX10" fmla="*/ 1400596 w 1997996"/>
                <a:gd name="connsiteY10" fmla="*/ 1063682 h 2139032"/>
                <a:gd name="connsiteX11" fmla="*/ 897101 w 1997996"/>
                <a:gd name="connsiteY11" fmla="*/ 1647055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7996" h="2139032">
                  <a:moveTo>
                    <a:pt x="951047" y="0"/>
                  </a:moveTo>
                  <a:lnTo>
                    <a:pt x="0" y="0"/>
                  </a:lnTo>
                  <a:lnTo>
                    <a:pt x="0" y="2139032"/>
                  </a:lnTo>
                  <a:lnTo>
                    <a:pt x="961036" y="2139032"/>
                  </a:lnTo>
                  <a:cubicBezTo>
                    <a:pt x="1640355" y="2139032"/>
                    <a:pt x="2057937" y="1759840"/>
                    <a:pt x="2057937" y="1057849"/>
                  </a:cubicBezTo>
                  <a:cubicBezTo>
                    <a:pt x="2047947" y="402527"/>
                    <a:pt x="1636359" y="0"/>
                    <a:pt x="951047" y="0"/>
                  </a:cubicBezTo>
                  <a:moveTo>
                    <a:pt x="897101" y="1645110"/>
                  </a:moveTo>
                  <a:lnTo>
                    <a:pt x="629369" y="1645110"/>
                  </a:lnTo>
                  <a:lnTo>
                    <a:pt x="629369" y="499756"/>
                  </a:lnTo>
                  <a:lnTo>
                    <a:pt x="897101" y="499756"/>
                  </a:lnTo>
                  <a:cubicBezTo>
                    <a:pt x="1244752" y="499756"/>
                    <a:pt x="1400596" y="723382"/>
                    <a:pt x="1400596" y="1063682"/>
                  </a:cubicBezTo>
                  <a:cubicBezTo>
                    <a:pt x="1400596" y="1438985"/>
                    <a:pt x="1274722" y="1647055"/>
                    <a:pt x="897101" y="1647055"/>
                  </a:cubicBezTo>
                </a:path>
              </a:pathLst>
            </a:custGeom>
            <a:grpFill/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2" name="Freeform 34">
              <a:extLst>
                <a:ext uri="{FF2B5EF4-FFF2-40B4-BE49-F238E27FC236}">
                  <a16:creationId xmlns:a16="http://schemas.microsoft.com/office/drawing/2014/main" id="{721D3884-892A-4F3E-9D4A-B06D472A04C8}"/>
                </a:ext>
              </a:extLst>
            </p:cNvPr>
            <p:cNvSpPr/>
            <p:nvPr/>
          </p:nvSpPr>
          <p:spPr>
            <a:xfrm>
              <a:off x="5664200" y="1340768"/>
              <a:ext cx="2996995" cy="2139032"/>
            </a:xfrm>
            <a:custGeom>
              <a:avLst/>
              <a:gdLst>
                <a:gd name="connsiteX0" fmla="*/ 1842153 w 2996995"/>
                <a:gd name="connsiteY0" fmla="*/ 2139032 h 2139032"/>
                <a:gd name="connsiteX1" fmla="*/ 2081913 w 2996995"/>
                <a:gd name="connsiteY1" fmla="*/ 1279530 h 2139032"/>
                <a:gd name="connsiteX2" fmla="*/ 2145849 w 2996995"/>
                <a:gd name="connsiteY2" fmla="*/ 1003400 h 2139032"/>
                <a:gd name="connsiteX3" fmla="*/ 2145849 w 2996995"/>
                <a:gd name="connsiteY3" fmla="*/ 1003400 h 2139032"/>
                <a:gd name="connsiteX4" fmla="*/ 2193801 w 2996995"/>
                <a:gd name="connsiteY4" fmla="*/ 1285364 h 2139032"/>
                <a:gd name="connsiteX5" fmla="*/ 2369624 w 2996995"/>
                <a:gd name="connsiteY5" fmla="*/ 2139032 h 2139032"/>
                <a:gd name="connsiteX6" fmla="*/ 3028963 w 2996995"/>
                <a:gd name="connsiteY6" fmla="*/ 2139032 h 2139032"/>
                <a:gd name="connsiteX7" fmla="*/ 2565428 w 2996995"/>
                <a:gd name="connsiteY7" fmla="*/ 0 h 2139032"/>
                <a:gd name="connsiteX8" fmla="*/ 1868127 w 2996995"/>
                <a:gd name="connsiteY8" fmla="*/ 0 h 2139032"/>
                <a:gd name="connsiteX9" fmla="*/ 1598398 w 2996995"/>
                <a:gd name="connsiteY9" fmla="*/ 1079239 h 2139032"/>
                <a:gd name="connsiteX10" fmla="*/ 1518478 w 2996995"/>
                <a:gd name="connsiteY10" fmla="*/ 1361202 h 2139032"/>
                <a:gd name="connsiteX11" fmla="*/ 1518478 w 2996995"/>
                <a:gd name="connsiteY11" fmla="*/ 1361202 h 2139032"/>
                <a:gd name="connsiteX12" fmla="*/ 1440556 w 2996995"/>
                <a:gd name="connsiteY12" fmla="*/ 1079239 h 2139032"/>
                <a:gd name="connsiteX13" fmla="*/ 1160836 w 2996995"/>
                <a:gd name="connsiteY13" fmla="*/ 0 h 2139032"/>
                <a:gd name="connsiteX14" fmla="*/ 461537 w 2996995"/>
                <a:gd name="connsiteY14" fmla="*/ 0 h 2139032"/>
                <a:gd name="connsiteX15" fmla="*/ 0 w 2996995"/>
                <a:gd name="connsiteY15" fmla="*/ 2139032 h 2139032"/>
                <a:gd name="connsiteX16" fmla="*/ 659339 w 2996995"/>
                <a:gd name="connsiteY16" fmla="*/ 2139032 h 2139032"/>
                <a:gd name="connsiteX17" fmla="*/ 829169 w 2996995"/>
                <a:gd name="connsiteY17" fmla="*/ 1285364 h 2139032"/>
                <a:gd name="connsiteX18" fmla="*/ 875123 w 2996995"/>
                <a:gd name="connsiteY18" fmla="*/ 1003400 h 2139032"/>
                <a:gd name="connsiteX19" fmla="*/ 875123 w 2996995"/>
                <a:gd name="connsiteY19" fmla="*/ 1003400 h 2139032"/>
                <a:gd name="connsiteX20" fmla="*/ 939059 w 2996995"/>
                <a:gd name="connsiteY20" fmla="*/ 1279530 h 2139032"/>
                <a:gd name="connsiteX21" fmla="*/ 1186810 w 2996995"/>
                <a:gd name="connsiteY21" fmla="*/ 2139032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96995" h="2139032">
                  <a:moveTo>
                    <a:pt x="1842153" y="2139032"/>
                  </a:moveTo>
                  <a:lnTo>
                    <a:pt x="2081913" y="1279530"/>
                  </a:lnTo>
                  <a:cubicBezTo>
                    <a:pt x="2107887" y="1178412"/>
                    <a:pt x="2135859" y="1061738"/>
                    <a:pt x="2145849" y="1003400"/>
                  </a:cubicBezTo>
                  <a:lnTo>
                    <a:pt x="2145849" y="1003400"/>
                  </a:lnTo>
                  <a:cubicBezTo>
                    <a:pt x="2145849" y="1048126"/>
                    <a:pt x="2169825" y="1176468"/>
                    <a:pt x="2193801" y="1285364"/>
                  </a:cubicBezTo>
                  <a:lnTo>
                    <a:pt x="2369624" y="2139032"/>
                  </a:lnTo>
                  <a:lnTo>
                    <a:pt x="3028963" y="2139032"/>
                  </a:lnTo>
                  <a:lnTo>
                    <a:pt x="2565428" y="0"/>
                  </a:lnTo>
                  <a:lnTo>
                    <a:pt x="1868127" y="0"/>
                  </a:lnTo>
                  <a:lnTo>
                    <a:pt x="1598398" y="1079239"/>
                  </a:lnTo>
                  <a:cubicBezTo>
                    <a:pt x="1564432" y="1166745"/>
                    <a:pt x="1534462" y="1297031"/>
                    <a:pt x="1518478" y="1361202"/>
                  </a:cubicBezTo>
                  <a:lnTo>
                    <a:pt x="1518478" y="1361202"/>
                  </a:lnTo>
                  <a:cubicBezTo>
                    <a:pt x="1492504" y="1297031"/>
                    <a:pt x="1464532" y="1166745"/>
                    <a:pt x="1440556" y="1079239"/>
                  </a:cubicBezTo>
                  <a:lnTo>
                    <a:pt x="1160836" y="0"/>
                  </a:lnTo>
                  <a:lnTo>
                    <a:pt x="461537" y="0"/>
                  </a:lnTo>
                  <a:lnTo>
                    <a:pt x="0" y="2139032"/>
                  </a:lnTo>
                  <a:lnTo>
                    <a:pt x="659339" y="2139032"/>
                  </a:lnTo>
                  <a:lnTo>
                    <a:pt x="829169" y="1285364"/>
                  </a:lnTo>
                  <a:cubicBezTo>
                    <a:pt x="851147" y="1176468"/>
                    <a:pt x="869129" y="1048126"/>
                    <a:pt x="875123" y="1003400"/>
                  </a:cubicBezTo>
                  <a:lnTo>
                    <a:pt x="875123" y="1003400"/>
                  </a:lnTo>
                  <a:cubicBezTo>
                    <a:pt x="875123" y="1061738"/>
                    <a:pt x="911087" y="1178412"/>
                    <a:pt x="939059" y="1279530"/>
                  </a:cubicBezTo>
                  <a:lnTo>
                    <a:pt x="1186810" y="2139032"/>
                  </a:lnTo>
                  <a:close/>
                </a:path>
              </a:pathLst>
            </a:custGeom>
            <a:grpFill/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3" name="Freeform 35">
              <a:extLst>
                <a:ext uri="{FF2B5EF4-FFF2-40B4-BE49-F238E27FC236}">
                  <a16:creationId xmlns:a16="http://schemas.microsoft.com/office/drawing/2014/main" id="{5D26B21C-0263-4BF1-8D5F-2191458F9FB9}"/>
                </a:ext>
              </a:extLst>
            </p:cNvPr>
            <p:cNvSpPr/>
            <p:nvPr/>
          </p:nvSpPr>
          <p:spPr>
            <a:xfrm>
              <a:off x="12830059" y="1683552"/>
              <a:ext cx="1798197" cy="1750117"/>
            </a:xfrm>
            <a:custGeom>
              <a:avLst/>
              <a:gdLst>
                <a:gd name="connsiteX0" fmla="*/ 963990 w 1798197"/>
                <a:gd name="connsiteY0" fmla="*/ 1406 h 1750117"/>
                <a:gd name="connsiteX1" fmla="*/ 1436 w 1798197"/>
                <a:gd name="connsiteY1" fmla="*/ 839168 h 1750117"/>
                <a:gd name="connsiteX2" fmla="*/ 956 w 1798197"/>
                <a:gd name="connsiteY2" fmla="*/ 928968 h 1750117"/>
                <a:gd name="connsiteX3" fmla="*/ 871723 w 1798197"/>
                <a:gd name="connsiteY3" fmla="*/ 1856998 h 1750117"/>
                <a:gd name="connsiteX4" fmla="*/ 963991 w 1798197"/>
                <a:gd name="connsiteY4" fmla="*/ 1856530 h 1750117"/>
                <a:gd name="connsiteX5" fmla="*/ 1924651 w 1798197"/>
                <a:gd name="connsiteY5" fmla="*/ 1016712 h 1750117"/>
                <a:gd name="connsiteX6" fmla="*/ 1925028 w 1798197"/>
                <a:gd name="connsiteY6" fmla="*/ 928968 h 1750117"/>
                <a:gd name="connsiteX7" fmla="*/ 1054145 w 1798197"/>
                <a:gd name="connsiteY7" fmla="*/ 1039 h 1750117"/>
                <a:gd name="connsiteX8" fmla="*/ 963991 w 1798197"/>
                <a:gd name="connsiteY8" fmla="*/ 1406 h 1750117"/>
                <a:gd name="connsiteX9" fmla="*/ 963990 w 1798197"/>
                <a:gd name="connsiteY9" fmla="*/ 1419001 h 1750117"/>
                <a:gd name="connsiteX10" fmla="*/ 600355 w 1798197"/>
                <a:gd name="connsiteY10" fmla="*/ 928968 h 1750117"/>
                <a:gd name="connsiteX11" fmla="*/ 963990 w 1798197"/>
                <a:gd name="connsiteY11" fmla="*/ 435046 h 1750117"/>
                <a:gd name="connsiteX12" fmla="*/ 1325628 w 1798197"/>
                <a:gd name="connsiteY12" fmla="*/ 928968 h 1750117"/>
                <a:gd name="connsiteX13" fmla="*/ 963990 w 1798197"/>
                <a:gd name="connsiteY13" fmla="*/ 1419001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98197" h="1750117">
                  <a:moveTo>
                    <a:pt x="963990" y="1406"/>
                  </a:moveTo>
                  <a:cubicBezTo>
                    <a:pt x="460491" y="-25947"/>
                    <a:pt x="29541" y="349132"/>
                    <a:pt x="1436" y="839168"/>
                  </a:cubicBezTo>
                  <a:cubicBezTo>
                    <a:pt x="-278" y="869074"/>
                    <a:pt x="-439" y="899046"/>
                    <a:pt x="956" y="928968"/>
                  </a:cubicBezTo>
                  <a:cubicBezTo>
                    <a:pt x="-21898" y="1419263"/>
                    <a:pt x="367958" y="1834756"/>
                    <a:pt x="871723" y="1856998"/>
                  </a:cubicBezTo>
                  <a:cubicBezTo>
                    <a:pt x="902467" y="1858356"/>
                    <a:pt x="933262" y="1858199"/>
                    <a:pt x="963991" y="1856530"/>
                  </a:cubicBezTo>
                  <a:cubicBezTo>
                    <a:pt x="1467550" y="1882807"/>
                    <a:pt x="1897653" y="1506807"/>
                    <a:pt x="1924651" y="1016712"/>
                  </a:cubicBezTo>
                  <a:cubicBezTo>
                    <a:pt x="1926261" y="987488"/>
                    <a:pt x="1926387" y="958204"/>
                    <a:pt x="1925028" y="928968"/>
                  </a:cubicBezTo>
                  <a:cubicBezTo>
                    <a:pt x="1947820" y="438670"/>
                    <a:pt x="1557913" y="23223"/>
                    <a:pt x="1054145" y="1039"/>
                  </a:cubicBezTo>
                  <a:cubicBezTo>
                    <a:pt x="1024106" y="-283"/>
                    <a:pt x="994018" y="-161"/>
                    <a:pt x="963991" y="1406"/>
                  </a:cubicBezTo>
                  <a:moveTo>
                    <a:pt x="963990" y="1419001"/>
                  </a:moveTo>
                  <a:cubicBezTo>
                    <a:pt x="704251" y="1419001"/>
                    <a:pt x="600355" y="1208987"/>
                    <a:pt x="600355" y="928968"/>
                  </a:cubicBezTo>
                  <a:cubicBezTo>
                    <a:pt x="600355" y="648949"/>
                    <a:pt x="704251" y="435046"/>
                    <a:pt x="963990" y="435046"/>
                  </a:cubicBezTo>
                  <a:cubicBezTo>
                    <a:pt x="1223730" y="435046"/>
                    <a:pt x="1325628" y="648949"/>
                    <a:pt x="1325628" y="928968"/>
                  </a:cubicBezTo>
                  <a:cubicBezTo>
                    <a:pt x="1325628" y="1208987"/>
                    <a:pt x="1225728" y="1419001"/>
                    <a:pt x="963990" y="1419001"/>
                  </a:cubicBezTo>
                </a:path>
              </a:pathLst>
            </a:custGeom>
            <a:grpFill/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47DEB40F-C9CD-4D32-87CA-C8E13F909709}"/>
                </a:ext>
              </a:extLst>
            </p:cNvPr>
            <p:cNvSpPr/>
            <p:nvPr/>
          </p:nvSpPr>
          <p:spPr>
            <a:xfrm>
              <a:off x="21989833" y="1683013"/>
              <a:ext cx="1598398" cy="1750117"/>
            </a:xfrm>
            <a:custGeom>
              <a:avLst/>
              <a:gdLst>
                <a:gd name="connsiteX0" fmla="*/ 565434 w 1598397"/>
                <a:gd name="connsiteY0" fmla="*/ 1227027 h 1750117"/>
                <a:gd name="connsiteX1" fmla="*/ 663335 w 1598397"/>
                <a:gd name="connsiteY1" fmla="*/ 1421484 h 1750117"/>
                <a:gd name="connsiteX2" fmla="*/ 863135 w 1598397"/>
                <a:gd name="connsiteY2" fmla="*/ 1483710 h 1750117"/>
                <a:gd name="connsiteX3" fmla="*/ 1142855 w 1598397"/>
                <a:gd name="connsiteY3" fmla="*/ 1289253 h 1750117"/>
                <a:gd name="connsiteX4" fmla="*/ 857141 w 1598397"/>
                <a:gd name="connsiteY4" fmla="*/ 1112297 h 1750117"/>
                <a:gd name="connsiteX5" fmla="*/ 9991 w 1598397"/>
                <a:gd name="connsiteY5" fmla="*/ 538647 h 1750117"/>
                <a:gd name="connsiteX6" fmla="*/ 849149 w 1598397"/>
                <a:gd name="connsiteY6" fmla="*/ 0 h 1750117"/>
                <a:gd name="connsiteX7" fmla="*/ 1680316 w 1598397"/>
                <a:gd name="connsiteY7" fmla="*/ 567816 h 1750117"/>
                <a:gd name="connsiteX8" fmla="*/ 1126870 w 1598397"/>
                <a:gd name="connsiteY8" fmla="*/ 567816 h 1750117"/>
                <a:gd name="connsiteX9" fmla="*/ 1056941 w 1598397"/>
                <a:gd name="connsiteY9" fmla="*/ 416139 h 1750117"/>
                <a:gd name="connsiteX10" fmla="*/ 877121 w 1598397"/>
                <a:gd name="connsiteY10" fmla="*/ 371414 h 1750117"/>
                <a:gd name="connsiteX11" fmla="*/ 623376 w 1598397"/>
                <a:gd name="connsiteY11" fmla="*/ 503645 h 1750117"/>
                <a:gd name="connsiteX12" fmla="*/ 1306690 w 1598397"/>
                <a:gd name="connsiteY12" fmla="*/ 756440 h 1750117"/>
                <a:gd name="connsiteX13" fmla="*/ 1764232 w 1598397"/>
                <a:gd name="connsiteY13" fmla="*/ 1230916 h 1750117"/>
                <a:gd name="connsiteX14" fmla="*/ 883114 w 1598397"/>
                <a:gd name="connsiteY14" fmla="*/ 1855124 h 1750117"/>
                <a:gd name="connsiteX15" fmla="*/ 0 w 1598397"/>
                <a:gd name="connsiteY15" fmla="*/ 1227027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98397" h="1750117">
                  <a:moveTo>
                    <a:pt x="565434" y="1227027"/>
                  </a:moveTo>
                  <a:cubicBezTo>
                    <a:pt x="562613" y="1303699"/>
                    <a:pt x="599352" y="1376670"/>
                    <a:pt x="663335" y="1421484"/>
                  </a:cubicBezTo>
                  <a:cubicBezTo>
                    <a:pt x="721521" y="1462225"/>
                    <a:pt x="791457" y="1484006"/>
                    <a:pt x="863135" y="1483710"/>
                  </a:cubicBezTo>
                  <a:cubicBezTo>
                    <a:pt x="979019" y="1483711"/>
                    <a:pt x="1142855" y="1435096"/>
                    <a:pt x="1142855" y="1289253"/>
                  </a:cubicBezTo>
                  <a:cubicBezTo>
                    <a:pt x="1142855" y="1143410"/>
                    <a:pt x="967031" y="1135632"/>
                    <a:pt x="857141" y="1112297"/>
                  </a:cubicBezTo>
                  <a:cubicBezTo>
                    <a:pt x="491507" y="1018957"/>
                    <a:pt x="9991" y="1018957"/>
                    <a:pt x="9991" y="538647"/>
                  </a:cubicBezTo>
                  <a:cubicBezTo>
                    <a:pt x="9991" y="114730"/>
                    <a:pt x="495504" y="0"/>
                    <a:pt x="849149" y="0"/>
                  </a:cubicBezTo>
                  <a:cubicBezTo>
                    <a:pt x="1248748" y="0"/>
                    <a:pt x="1660335" y="112785"/>
                    <a:pt x="1680316" y="567816"/>
                  </a:cubicBezTo>
                  <a:lnTo>
                    <a:pt x="1126870" y="567816"/>
                  </a:lnTo>
                  <a:cubicBezTo>
                    <a:pt x="1132861" y="508762"/>
                    <a:pt x="1106249" y="451042"/>
                    <a:pt x="1056941" y="416139"/>
                  </a:cubicBezTo>
                  <a:cubicBezTo>
                    <a:pt x="1002817" y="384359"/>
                    <a:pt x="940274" y="368803"/>
                    <a:pt x="877121" y="371414"/>
                  </a:cubicBezTo>
                  <a:cubicBezTo>
                    <a:pt x="779219" y="371414"/>
                    <a:pt x="623376" y="383081"/>
                    <a:pt x="623376" y="503645"/>
                  </a:cubicBezTo>
                  <a:cubicBezTo>
                    <a:pt x="623376" y="668934"/>
                    <a:pt x="1034962" y="698102"/>
                    <a:pt x="1306690" y="756440"/>
                  </a:cubicBezTo>
                  <a:cubicBezTo>
                    <a:pt x="1559004" y="782271"/>
                    <a:pt x="1753730" y="984205"/>
                    <a:pt x="1764232" y="1230916"/>
                  </a:cubicBezTo>
                  <a:cubicBezTo>
                    <a:pt x="1764232" y="1699558"/>
                    <a:pt x="1290706" y="1855124"/>
                    <a:pt x="883114" y="1855124"/>
                  </a:cubicBezTo>
                  <a:cubicBezTo>
                    <a:pt x="475523" y="1855124"/>
                    <a:pt x="17983" y="1717059"/>
                    <a:pt x="0" y="1227027"/>
                  </a:cubicBezTo>
                  <a:close/>
                </a:path>
              </a:pathLst>
            </a:custGeom>
            <a:grpFill/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pic>
        <p:nvPicPr>
          <p:cNvPr id="55" name="Picture 54" descr="A picture containing shirt&#10;&#10;Description automatically generated">
            <a:extLst>
              <a:ext uri="{FF2B5EF4-FFF2-40B4-BE49-F238E27FC236}">
                <a16:creationId xmlns:a16="http://schemas.microsoft.com/office/drawing/2014/main" id="{79579057-FD75-4495-86DD-9E7B811EF02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2670" y="58399"/>
            <a:ext cx="1951701" cy="791127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2DB389AD-1B7C-4505-AFEE-773FF67E1266}"/>
              </a:ext>
            </a:extLst>
          </p:cNvPr>
          <p:cNvSpPr txBox="1"/>
          <p:nvPr userDrawn="1"/>
        </p:nvSpPr>
        <p:spPr>
          <a:xfrm>
            <a:off x="9948210" y="311636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FOR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e 1">
            <a:extLst>
              <a:ext uri="{FF2B5EF4-FFF2-40B4-BE49-F238E27FC236}">
                <a16:creationId xmlns:a16="http://schemas.microsoft.com/office/drawing/2014/main" id="{842A035B-AA1E-4F24-B3E3-842B022E9FF8}"/>
              </a:ext>
            </a:extLst>
          </p:cNvPr>
          <p:cNvGrpSpPr/>
          <p:nvPr userDrawn="1"/>
        </p:nvGrpSpPr>
        <p:grpSpPr>
          <a:xfrm flipH="1">
            <a:off x="6578328" y="767"/>
            <a:ext cx="5613672" cy="6884617"/>
            <a:chOff x="1588" y="-3175"/>
            <a:chExt cx="7485063" cy="6889750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DB9797FE-FEA0-4A06-B2BF-6AD3BC397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" y="-3175"/>
              <a:ext cx="5280025" cy="6889750"/>
            </a:xfrm>
            <a:custGeom>
              <a:avLst/>
              <a:gdLst/>
              <a:ahLst/>
              <a:cxnLst>
                <a:cxn ang="0">
                  <a:pos x="1" y="2835"/>
                </a:cxn>
                <a:cxn ang="0">
                  <a:pos x="149" y="2735"/>
                </a:cxn>
                <a:cxn ang="0">
                  <a:pos x="393" y="2614"/>
                </a:cxn>
                <a:cxn ang="0">
                  <a:pos x="663" y="2508"/>
                </a:cxn>
                <a:cxn ang="0">
                  <a:pos x="691" y="2498"/>
                </a:cxn>
                <a:cxn ang="0">
                  <a:pos x="699" y="2495"/>
                </a:cxn>
                <a:cxn ang="0">
                  <a:pos x="814" y="2453"/>
                </a:cxn>
                <a:cxn ang="0">
                  <a:pos x="1047" y="2369"/>
                </a:cxn>
                <a:cxn ang="0">
                  <a:pos x="1208" y="2307"/>
                </a:cxn>
                <a:cxn ang="0">
                  <a:pos x="1405" y="2222"/>
                </a:cxn>
                <a:cxn ang="0">
                  <a:pos x="1549" y="2149"/>
                </a:cxn>
                <a:cxn ang="0">
                  <a:pos x="1664" y="2081"/>
                </a:cxn>
                <a:cxn ang="0">
                  <a:pos x="1772" y="2004"/>
                </a:cxn>
                <a:cxn ang="0">
                  <a:pos x="1889" y="1903"/>
                </a:cxn>
                <a:cxn ang="0">
                  <a:pos x="2001" y="1776"/>
                </a:cxn>
                <a:cxn ang="0">
                  <a:pos x="2058" y="1691"/>
                </a:cxn>
                <a:cxn ang="0">
                  <a:pos x="2116" y="1571"/>
                </a:cxn>
                <a:cxn ang="0">
                  <a:pos x="2170" y="1375"/>
                </a:cxn>
                <a:cxn ang="0">
                  <a:pos x="2199" y="1207"/>
                </a:cxn>
                <a:cxn ang="0">
                  <a:pos x="2206" y="940"/>
                </a:cxn>
                <a:cxn ang="0">
                  <a:pos x="2179" y="751"/>
                </a:cxn>
                <a:cxn ang="0">
                  <a:pos x="2123" y="578"/>
                </a:cxn>
                <a:cxn ang="0">
                  <a:pos x="2068" y="464"/>
                </a:cxn>
                <a:cxn ang="0">
                  <a:pos x="2010" y="370"/>
                </a:cxn>
                <a:cxn ang="0">
                  <a:pos x="1957" y="298"/>
                </a:cxn>
                <a:cxn ang="0">
                  <a:pos x="1843" y="174"/>
                </a:cxn>
                <a:cxn ang="0">
                  <a:pos x="1733" y="77"/>
                </a:cxn>
                <a:cxn ang="0">
                  <a:pos x="1630" y="0"/>
                </a:cxn>
                <a:cxn ang="0">
                  <a:pos x="0" y="0"/>
                </a:cxn>
                <a:cxn ang="0">
                  <a:pos x="0" y="2884"/>
                </a:cxn>
                <a:cxn ang="0">
                  <a:pos x="1" y="2884"/>
                </a:cxn>
                <a:cxn ang="0">
                  <a:pos x="1" y="2835"/>
                </a:cxn>
              </a:cxnLst>
              <a:rect l="0" t="0" r="r" b="b"/>
              <a:pathLst>
                <a:path w="2212" h="2884">
                  <a:moveTo>
                    <a:pt x="1" y="2835"/>
                  </a:moveTo>
                  <a:cubicBezTo>
                    <a:pt x="48" y="2798"/>
                    <a:pt x="98" y="2765"/>
                    <a:pt x="149" y="2735"/>
                  </a:cubicBezTo>
                  <a:cubicBezTo>
                    <a:pt x="228" y="2689"/>
                    <a:pt x="309" y="2650"/>
                    <a:pt x="393" y="2614"/>
                  </a:cubicBezTo>
                  <a:cubicBezTo>
                    <a:pt x="482" y="2576"/>
                    <a:pt x="572" y="2541"/>
                    <a:pt x="663" y="2508"/>
                  </a:cubicBezTo>
                  <a:cubicBezTo>
                    <a:pt x="672" y="2505"/>
                    <a:pt x="682" y="2501"/>
                    <a:pt x="691" y="2498"/>
                  </a:cubicBezTo>
                  <a:cubicBezTo>
                    <a:pt x="693" y="2496"/>
                    <a:pt x="696" y="2495"/>
                    <a:pt x="699" y="2495"/>
                  </a:cubicBezTo>
                  <a:cubicBezTo>
                    <a:pt x="737" y="2481"/>
                    <a:pt x="776" y="2467"/>
                    <a:pt x="814" y="2453"/>
                  </a:cubicBezTo>
                  <a:cubicBezTo>
                    <a:pt x="892" y="2425"/>
                    <a:pt x="969" y="2397"/>
                    <a:pt x="1047" y="2369"/>
                  </a:cubicBezTo>
                  <a:cubicBezTo>
                    <a:pt x="1101" y="2349"/>
                    <a:pt x="1155" y="2328"/>
                    <a:pt x="1208" y="2307"/>
                  </a:cubicBezTo>
                  <a:cubicBezTo>
                    <a:pt x="1274" y="2281"/>
                    <a:pt x="1340" y="2253"/>
                    <a:pt x="1405" y="2222"/>
                  </a:cubicBezTo>
                  <a:cubicBezTo>
                    <a:pt x="1453" y="2200"/>
                    <a:pt x="1501" y="2176"/>
                    <a:pt x="1549" y="2149"/>
                  </a:cubicBezTo>
                  <a:cubicBezTo>
                    <a:pt x="1588" y="2127"/>
                    <a:pt x="1626" y="2105"/>
                    <a:pt x="1664" y="2081"/>
                  </a:cubicBezTo>
                  <a:cubicBezTo>
                    <a:pt x="1701" y="2057"/>
                    <a:pt x="1737" y="2032"/>
                    <a:pt x="1772" y="2004"/>
                  </a:cubicBezTo>
                  <a:cubicBezTo>
                    <a:pt x="1813" y="1973"/>
                    <a:pt x="1852" y="1940"/>
                    <a:pt x="1889" y="1903"/>
                  </a:cubicBezTo>
                  <a:cubicBezTo>
                    <a:pt x="1929" y="1864"/>
                    <a:pt x="1967" y="1821"/>
                    <a:pt x="2001" y="1776"/>
                  </a:cubicBezTo>
                  <a:cubicBezTo>
                    <a:pt x="2022" y="1749"/>
                    <a:pt x="2039" y="1719"/>
                    <a:pt x="2058" y="1691"/>
                  </a:cubicBezTo>
                  <a:cubicBezTo>
                    <a:pt x="2082" y="1653"/>
                    <a:pt x="2101" y="1613"/>
                    <a:pt x="2116" y="1571"/>
                  </a:cubicBezTo>
                  <a:cubicBezTo>
                    <a:pt x="2140" y="1507"/>
                    <a:pt x="2153" y="1441"/>
                    <a:pt x="2170" y="1375"/>
                  </a:cubicBezTo>
                  <a:cubicBezTo>
                    <a:pt x="2184" y="1320"/>
                    <a:pt x="2192" y="1264"/>
                    <a:pt x="2199" y="1207"/>
                  </a:cubicBezTo>
                  <a:cubicBezTo>
                    <a:pt x="2210" y="1118"/>
                    <a:pt x="2212" y="1029"/>
                    <a:pt x="2206" y="940"/>
                  </a:cubicBezTo>
                  <a:cubicBezTo>
                    <a:pt x="2202" y="876"/>
                    <a:pt x="2195" y="813"/>
                    <a:pt x="2179" y="751"/>
                  </a:cubicBezTo>
                  <a:cubicBezTo>
                    <a:pt x="2164" y="692"/>
                    <a:pt x="2148" y="633"/>
                    <a:pt x="2123" y="578"/>
                  </a:cubicBezTo>
                  <a:cubicBezTo>
                    <a:pt x="2106" y="539"/>
                    <a:pt x="2090" y="500"/>
                    <a:pt x="2068" y="464"/>
                  </a:cubicBezTo>
                  <a:cubicBezTo>
                    <a:pt x="2050" y="432"/>
                    <a:pt x="2032" y="400"/>
                    <a:pt x="2010" y="370"/>
                  </a:cubicBezTo>
                  <a:cubicBezTo>
                    <a:pt x="1993" y="346"/>
                    <a:pt x="1976" y="321"/>
                    <a:pt x="1957" y="298"/>
                  </a:cubicBezTo>
                  <a:cubicBezTo>
                    <a:pt x="1921" y="255"/>
                    <a:pt x="1884" y="213"/>
                    <a:pt x="1843" y="174"/>
                  </a:cubicBezTo>
                  <a:cubicBezTo>
                    <a:pt x="1808" y="140"/>
                    <a:pt x="1772" y="107"/>
                    <a:pt x="1733" y="77"/>
                  </a:cubicBezTo>
                  <a:cubicBezTo>
                    <a:pt x="1699" y="50"/>
                    <a:pt x="1665" y="25"/>
                    <a:pt x="163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61"/>
                    <a:pt x="0" y="1923"/>
                    <a:pt x="0" y="2884"/>
                  </a:cubicBezTo>
                  <a:cubicBezTo>
                    <a:pt x="1" y="2884"/>
                    <a:pt x="1" y="2884"/>
                    <a:pt x="1" y="2884"/>
                  </a:cubicBezTo>
                  <a:cubicBezTo>
                    <a:pt x="1" y="2868"/>
                    <a:pt x="1" y="2852"/>
                    <a:pt x="1" y="283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9095FD91-ECEE-4670-9264-336915F24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" y="-3175"/>
              <a:ext cx="7481888" cy="6889750"/>
            </a:xfrm>
            <a:custGeom>
              <a:avLst/>
              <a:gdLst/>
              <a:ahLst/>
              <a:cxnLst>
                <a:cxn ang="0">
                  <a:pos x="3123" y="2136"/>
                </a:cxn>
                <a:cxn ang="0">
                  <a:pos x="3069" y="1788"/>
                </a:cxn>
                <a:cxn ang="0">
                  <a:pos x="3010" y="1567"/>
                </a:cxn>
                <a:cxn ang="0">
                  <a:pos x="2955" y="1406"/>
                </a:cxn>
                <a:cxn ang="0">
                  <a:pos x="2899" y="1268"/>
                </a:cxn>
                <a:cxn ang="0">
                  <a:pos x="2842" y="1144"/>
                </a:cxn>
                <a:cxn ang="0">
                  <a:pos x="2785" y="1036"/>
                </a:cxn>
                <a:cxn ang="0">
                  <a:pos x="2731" y="941"/>
                </a:cxn>
                <a:cxn ang="0">
                  <a:pos x="2673" y="849"/>
                </a:cxn>
                <a:cxn ang="0">
                  <a:pos x="2618" y="768"/>
                </a:cxn>
                <a:cxn ang="0">
                  <a:pos x="2561" y="691"/>
                </a:cxn>
                <a:cxn ang="0">
                  <a:pos x="2505" y="620"/>
                </a:cxn>
                <a:cxn ang="0">
                  <a:pos x="2394" y="493"/>
                </a:cxn>
                <a:cxn ang="0">
                  <a:pos x="2393" y="492"/>
                </a:cxn>
                <a:cxn ang="0">
                  <a:pos x="2336" y="432"/>
                </a:cxn>
                <a:cxn ang="0">
                  <a:pos x="2222" y="324"/>
                </a:cxn>
                <a:cxn ang="0">
                  <a:pos x="2112" y="231"/>
                </a:cxn>
                <a:cxn ang="0">
                  <a:pos x="1997" y="144"/>
                </a:cxn>
                <a:cxn ang="0">
                  <a:pos x="1885" y="70"/>
                </a:cxn>
                <a:cxn ang="0">
                  <a:pos x="1773" y="3"/>
                </a:cxn>
                <a:cxn ang="0">
                  <a:pos x="1767" y="0"/>
                </a:cxn>
                <a:cxn ang="0">
                  <a:pos x="1711" y="0"/>
                </a:cxn>
                <a:cxn ang="0">
                  <a:pos x="1629" y="0"/>
                </a:cxn>
                <a:cxn ang="0">
                  <a:pos x="1732" y="77"/>
                </a:cxn>
                <a:cxn ang="0">
                  <a:pos x="1842" y="174"/>
                </a:cxn>
                <a:cxn ang="0">
                  <a:pos x="1956" y="298"/>
                </a:cxn>
                <a:cxn ang="0">
                  <a:pos x="2009" y="370"/>
                </a:cxn>
                <a:cxn ang="0">
                  <a:pos x="2067" y="464"/>
                </a:cxn>
                <a:cxn ang="0">
                  <a:pos x="2122" y="578"/>
                </a:cxn>
                <a:cxn ang="0">
                  <a:pos x="2178" y="751"/>
                </a:cxn>
                <a:cxn ang="0">
                  <a:pos x="2205" y="940"/>
                </a:cxn>
                <a:cxn ang="0">
                  <a:pos x="2198" y="1207"/>
                </a:cxn>
                <a:cxn ang="0">
                  <a:pos x="2169" y="1375"/>
                </a:cxn>
                <a:cxn ang="0">
                  <a:pos x="2115" y="1571"/>
                </a:cxn>
                <a:cxn ang="0">
                  <a:pos x="2057" y="1691"/>
                </a:cxn>
                <a:cxn ang="0">
                  <a:pos x="2000" y="1776"/>
                </a:cxn>
                <a:cxn ang="0">
                  <a:pos x="1888" y="1903"/>
                </a:cxn>
                <a:cxn ang="0">
                  <a:pos x="1771" y="2004"/>
                </a:cxn>
                <a:cxn ang="0">
                  <a:pos x="1663" y="2081"/>
                </a:cxn>
                <a:cxn ang="0">
                  <a:pos x="1548" y="2149"/>
                </a:cxn>
                <a:cxn ang="0">
                  <a:pos x="1404" y="2222"/>
                </a:cxn>
                <a:cxn ang="0">
                  <a:pos x="1207" y="2307"/>
                </a:cxn>
                <a:cxn ang="0">
                  <a:pos x="1046" y="2369"/>
                </a:cxn>
                <a:cxn ang="0">
                  <a:pos x="813" y="2453"/>
                </a:cxn>
                <a:cxn ang="0">
                  <a:pos x="698" y="2495"/>
                </a:cxn>
                <a:cxn ang="0">
                  <a:pos x="690" y="2498"/>
                </a:cxn>
                <a:cxn ang="0">
                  <a:pos x="662" y="2508"/>
                </a:cxn>
                <a:cxn ang="0">
                  <a:pos x="392" y="2614"/>
                </a:cxn>
                <a:cxn ang="0">
                  <a:pos x="148" y="2735"/>
                </a:cxn>
                <a:cxn ang="0">
                  <a:pos x="0" y="2835"/>
                </a:cxn>
                <a:cxn ang="0">
                  <a:pos x="0" y="2884"/>
                </a:cxn>
                <a:cxn ang="0">
                  <a:pos x="536" y="2884"/>
                </a:cxn>
                <a:cxn ang="0">
                  <a:pos x="2395" y="2884"/>
                </a:cxn>
                <a:cxn ang="0">
                  <a:pos x="2608" y="2884"/>
                </a:cxn>
                <a:cxn ang="0">
                  <a:pos x="2629" y="2870"/>
                </a:cxn>
                <a:cxn ang="0">
                  <a:pos x="2798" y="2779"/>
                </a:cxn>
                <a:cxn ang="0">
                  <a:pos x="2992" y="2729"/>
                </a:cxn>
                <a:cxn ang="0">
                  <a:pos x="3091" y="2723"/>
                </a:cxn>
                <a:cxn ang="0">
                  <a:pos x="3101" y="2715"/>
                </a:cxn>
                <a:cxn ang="0">
                  <a:pos x="3128" y="2493"/>
                </a:cxn>
                <a:cxn ang="0">
                  <a:pos x="3133" y="2390"/>
                </a:cxn>
                <a:cxn ang="0">
                  <a:pos x="3123" y="2136"/>
                </a:cxn>
              </a:cxnLst>
              <a:rect l="0" t="0" r="r" b="b"/>
              <a:pathLst>
                <a:path w="3135" h="2884">
                  <a:moveTo>
                    <a:pt x="3123" y="2136"/>
                  </a:moveTo>
                  <a:cubicBezTo>
                    <a:pt x="3111" y="2019"/>
                    <a:pt x="3098" y="1902"/>
                    <a:pt x="3069" y="1788"/>
                  </a:cubicBezTo>
                  <a:cubicBezTo>
                    <a:pt x="3051" y="1714"/>
                    <a:pt x="3036" y="1639"/>
                    <a:pt x="3010" y="1567"/>
                  </a:cubicBezTo>
                  <a:cubicBezTo>
                    <a:pt x="2992" y="1514"/>
                    <a:pt x="2978" y="1458"/>
                    <a:pt x="2955" y="1406"/>
                  </a:cubicBezTo>
                  <a:cubicBezTo>
                    <a:pt x="2936" y="1360"/>
                    <a:pt x="2921" y="1312"/>
                    <a:pt x="2899" y="1268"/>
                  </a:cubicBezTo>
                  <a:cubicBezTo>
                    <a:pt x="2879" y="1227"/>
                    <a:pt x="2864" y="1184"/>
                    <a:pt x="2842" y="1144"/>
                  </a:cubicBezTo>
                  <a:cubicBezTo>
                    <a:pt x="2822" y="1109"/>
                    <a:pt x="2807" y="1071"/>
                    <a:pt x="2785" y="1036"/>
                  </a:cubicBezTo>
                  <a:cubicBezTo>
                    <a:pt x="2766" y="1005"/>
                    <a:pt x="2751" y="972"/>
                    <a:pt x="2731" y="941"/>
                  </a:cubicBezTo>
                  <a:cubicBezTo>
                    <a:pt x="2710" y="911"/>
                    <a:pt x="2694" y="879"/>
                    <a:pt x="2673" y="849"/>
                  </a:cubicBezTo>
                  <a:cubicBezTo>
                    <a:pt x="2653" y="823"/>
                    <a:pt x="2638" y="794"/>
                    <a:pt x="2618" y="768"/>
                  </a:cubicBezTo>
                  <a:cubicBezTo>
                    <a:pt x="2598" y="744"/>
                    <a:pt x="2582" y="716"/>
                    <a:pt x="2561" y="691"/>
                  </a:cubicBezTo>
                  <a:cubicBezTo>
                    <a:pt x="2541" y="668"/>
                    <a:pt x="2524" y="643"/>
                    <a:pt x="2505" y="620"/>
                  </a:cubicBezTo>
                  <a:cubicBezTo>
                    <a:pt x="2469" y="577"/>
                    <a:pt x="2433" y="534"/>
                    <a:pt x="2394" y="493"/>
                  </a:cubicBezTo>
                  <a:cubicBezTo>
                    <a:pt x="2394" y="493"/>
                    <a:pt x="2394" y="493"/>
                    <a:pt x="2393" y="492"/>
                  </a:cubicBezTo>
                  <a:cubicBezTo>
                    <a:pt x="2374" y="473"/>
                    <a:pt x="2356" y="452"/>
                    <a:pt x="2336" y="432"/>
                  </a:cubicBezTo>
                  <a:cubicBezTo>
                    <a:pt x="2299" y="395"/>
                    <a:pt x="2261" y="359"/>
                    <a:pt x="2222" y="324"/>
                  </a:cubicBezTo>
                  <a:cubicBezTo>
                    <a:pt x="2186" y="292"/>
                    <a:pt x="2150" y="261"/>
                    <a:pt x="2112" y="231"/>
                  </a:cubicBezTo>
                  <a:cubicBezTo>
                    <a:pt x="2075" y="201"/>
                    <a:pt x="2036" y="172"/>
                    <a:pt x="1997" y="144"/>
                  </a:cubicBezTo>
                  <a:cubicBezTo>
                    <a:pt x="1960" y="118"/>
                    <a:pt x="1923" y="93"/>
                    <a:pt x="1885" y="70"/>
                  </a:cubicBezTo>
                  <a:cubicBezTo>
                    <a:pt x="1848" y="47"/>
                    <a:pt x="1811" y="25"/>
                    <a:pt x="1773" y="3"/>
                  </a:cubicBezTo>
                  <a:cubicBezTo>
                    <a:pt x="1771" y="2"/>
                    <a:pt x="1769" y="1"/>
                    <a:pt x="1767" y="0"/>
                  </a:cubicBezTo>
                  <a:cubicBezTo>
                    <a:pt x="1711" y="0"/>
                    <a:pt x="1711" y="0"/>
                    <a:pt x="1711" y="0"/>
                  </a:cubicBezTo>
                  <a:cubicBezTo>
                    <a:pt x="1629" y="0"/>
                    <a:pt x="1629" y="0"/>
                    <a:pt x="1629" y="0"/>
                  </a:cubicBezTo>
                  <a:cubicBezTo>
                    <a:pt x="1664" y="25"/>
                    <a:pt x="1698" y="50"/>
                    <a:pt x="1732" y="77"/>
                  </a:cubicBezTo>
                  <a:cubicBezTo>
                    <a:pt x="1771" y="107"/>
                    <a:pt x="1807" y="140"/>
                    <a:pt x="1842" y="174"/>
                  </a:cubicBezTo>
                  <a:cubicBezTo>
                    <a:pt x="1883" y="213"/>
                    <a:pt x="1920" y="255"/>
                    <a:pt x="1956" y="298"/>
                  </a:cubicBezTo>
                  <a:cubicBezTo>
                    <a:pt x="1975" y="321"/>
                    <a:pt x="1992" y="346"/>
                    <a:pt x="2009" y="370"/>
                  </a:cubicBezTo>
                  <a:cubicBezTo>
                    <a:pt x="2031" y="400"/>
                    <a:pt x="2049" y="432"/>
                    <a:pt x="2067" y="464"/>
                  </a:cubicBezTo>
                  <a:cubicBezTo>
                    <a:pt x="2089" y="500"/>
                    <a:pt x="2105" y="539"/>
                    <a:pt x="2122" y="578"/>
                  </a:cubicBezTo>
                  <a:cubicBezTo>
                    <a:pt x="2147" y="633"/>
                    <a:pt x="2163" y="692"/>
                    <a:pt x="2178" y="751"/>
                  </a:cubicBezTo>
                  <a:cubicBezTo>
                    <a:pt x="2194" y="813"/>
                    <a:pt x="2201" y="876"/>
                    <a:pt x="2205" y="940"/>
                  </a:cubicBezTo>
                  <a:cubicBezTo>
                    <a:pt x="2211" y="1029"/>
                    <a:pt x="2209" y="1118"/>
                    <a:pt x="2198" y="1207"/>
                  </a:cubicBezTo>
                  <a:cubicBezTo>
                    <a:pt x="2191" y="1264"/>
                    <a:pt x="2183" y="1320"/>
                    <a:pt x="2169" y="1375"/>
                  </a:cubicBezTo>
                  <a:cubicBezTo>
                    <a:pt x="2152" y="1441"/>
                    <a:pt x="2139" y="1507"/>
                    <a:pt x="2115" y="1571"/>
                  </a:cubicBezTo>
                  <a:cubicBezTo>
                    <a:pt x="2100" y="1613"/>
                    <a:pt x="2081" y="1653"/>
                    <a:pt x="2057" y="1691"/>
                  </a:cubicBezTo>
                  <a:cubicBezTo>
                    <a:pt x="2038" y="1719"/>
                    <a:pt x="2021" y="1749"/>
                    <a:pt x="2000" y="1776"/>
                  </a:cubicBezTo>
                  <a:cubicBezTo>
                    <a:pt x="1966" y="1821"/>
                    <a:pt x="1928" y="1864"/>
                    <a:pt x="1888" y="1903"/>
                  </a:cubicBezTo>
                  <a:cubicBezTo>
                    <a:pt x="1851" y="1940"/>
                    <a:pt x="1812" y="1973"/>
                    <a:pt x="1771" y="2004"/>
                  </a:cubicBezTo>
                  <a:cubicBezTo>
                    <a:pt x="1736" y="2032"/>
                    <a:pt x="1700" y="2057"/>
                    <a:pt x="1663" y="2081"/>
                  </a:cubicBezTo>
                  <a:cubicBezTo>
                    <a:pt x="1625" y="2105"/>
                    <a:pt x="1587" y="2127"/>
                    <a:pt x="1548" y="2149"/>
                  </a:cubicBezTo>
                  <a:cubicBezTo>
                    <a:pt x="1500" y="2176"/>
                    <a:pt x="1452" y="2200"/>
                    <a:pt x="1404" y="2222"/>
                  </a:cubicBezTo>
                  <a:cubicBezTo>
                    <a:pt x="1339" y="2253"/>
                    <a:pt x="1273" y="2281"/>
                    <a:pt x="1207" y="2307"/>
                  </a:cubicBezTo>
                  <a:cubicBezTo>
                    <a:pt x="1154" y="2328"/>
                    <a:pt x="1100" y="2349"/>
                    <a:pt x="1046" y="2369"/>
                  </a:cubicBezTo>
                  <a:cubicBezTo>
                    <a:pt x="968" y="2397"/>
                    <a:pt x="891" y="2425"/>
                    <a:pt x="813" y="2453"/>
                  </a:cubicBezTo>
                  <a:cubicBezTo>
                    <a:pt x="775" y="2467"/>
                    <a:pt x="736" y="2481"/>
                    <a:pt x="698" y="2495"/>
                  </a:cubicBezTo>
                  <a:cubicBezTo>
                    <a:pt x="695" y="2496"/>
                    <a:pt x="692" y="2497"/>
                    <a:pt x="690" y="2498"/>
                  </a:cubicBezTo>
                  <a:cubicBezTo>
                    <a:pt x="681" y="2501"/>
                    <a:pt x="671" y="2505"/>
                    <a:pt x="662" y="2508"/>
                  </a:cubicBezTo>
                  <a:cubicBezTo>
                    <a:pt x="571" y="2541"/>
                    <a:pt x="481" y="2576"/>
                    <a:pt x="392" y="2614"/>
                  </a:cubicBezTo>
                  <a:cubicBezTo>
                    <a:pt x="308" y="2650"/>
                    <a:pt x="227" y="2689"/>
                    <a:pt x="148" y="2735"/>
                  </a:cubicBezTo>
                  <a:cubicBezTo>
                    <a:pt x="97" y="2765"/>
                    <a:pt x="47" y="2798"/>
                    <a:pt x="0" y="2835"/>
                  </a:cubicBezTo>
                  <a:cubicBezTo>
                    <a:pt x="0" y="2852"/>
                    <a:pt x="0" y="2868"/>
                    <a:pt x="0" y="2884"/>
                  </a:cubicBezTo>
                  <a:cubicBezTo>
                    <a:pt x="536" y="2884"/>
                    <a:pt x="536" y="2884"/>
                    <a:pt x="536" y="2884"/>
                  </a:cubicBezTo>
                  <a:cubicBezTo>
                    <a:pt x="2395" y="2884"/>
                    <a:pt x="2395" y="2884"/>
                    <a:pt x="2395" y="2884"/>
                  </a:cubicBezTo>
                  <a:cubicBezTo>
                    <a:pt x="2608" y="2884"/>
                    <a:pt x="2608" y="2884"/>
                    <a:pt x="2608" y="2884"/>
                  </a:cubicBezTo>
                  <a:cubicBezTo>
                    <a:pt x="2615" y="2880"/>
                    <a:pt x="2622" y="2875"/>
                    <a:pt x="2629" y="2870"/>
                  </a:cubicBezTo>
                  <a:cubicBezTo>
                    <a:pt x="2682" y="2833"/>
                    <a:pt x="2738" y="2803"/>
                    <a:pt x="2798" y="2779"/>
                  </a:cubicBezTo>
                  <a:cubicBezTo>
                    <a:pt x="2861" y="2754"/>
                    <a:pt x="2926" y="2738"/>
                    <a:pt x="2992" y="2729"/>
                  </a:cubicBezTo>
                  <a:cubicBezTo>
                    <a:pt x="3025" y="2725"/>
                    <a:pt x="3058" y="2724"/>
                    <a:pt x="3091" y="2723"/>
                  </a:cubicBezTo>
                  <a:cubicBezTo>
                    <a:pt x="3097" y="2723"/>
                    <a:pt x="3099" y="2722"/>
                    <a:pt x="3101" y="2715"/>
                  </a:cubicBezTo>
                  <a:cubicBezTo>
                    <a:pt x="3115" y="2641"/>
                    <a:pt x="3120" y="2567"/>
                    <a:pt x="3128" y="2493"/>
                  </a:cubicBezTo>
                  <a:cubicBezTo>
                    <a:pt x="3132" y="2459"/>
                    <a:pt x="3132" y="2424"/>
                    <a:pt x="3133" y="2390"/>
                  </a:cubicBezTo>
                  <a:cubicBezTo>
                    <a:pt x="3135" y="2305"/>
                    <a:pt x="3131" y="2221"/>
                    <a:pt x="3123" y="2136"/>
                  </a:cubicBezTo>
                  <a:close/>
                </a:path>
              </a:pathLst>
            </a:custGeom>
            <a:solidFill>
              <a:srgbClr val="FFC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19105" y="1268760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lvl1pPr algn="l">
              <a:defRPr lang="en-US" sz="2800" b="1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105" y="2780928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9" name="Retângulo 43">
            <a:extLst>
              <a:ext uri="{FF2B5EF4-FFF2-40B4-BE49-F238E27FC236}">
                <a16:creationId xmlns:a16="http://schemas.microsoft.com/office/drawing/2014/main" id="{B5754BC3-443F-413F-AF03-A4FE23C703D2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95594F58-B975-40CC-B3D2-BD3FA42F7B5C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© Capgemini 2021. All rights reserved  |</a:t>
            </a:r>
          </a:p>
        </p:txBody>
      </p:sp>
      <p:grpSp>
        <p:nvGrpSpPr>
          <p:cNvPr id="10" name="Graphic 8">
            <a:extLst>
              <a:ext uri="{FF2B5EF4-FFF2-40B4-BE49-F238E27FC236}">
                <a16:creationId xmlns:a16="http://schemas.microsoft.com/office/drawing/2014/main" id="{5B5788BF-3323-4302-AB85-387499CF84F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89689" y="377370"/>
            <a:ext cx="1547154" cy="184040"/>
            <a:chOff x="5664200" y="1340768"/>
            <a:chExt cx="17981972" cy="2139032"/>
          </a:xfrm>
          <a:solidFill>
            <a:srgbClr val="000000"/>
          </a:solidFill>
        </p:grpSpPr>
        <p:sp>
          <p:nvSpPr>
            <p:cNvPr id="13" name="Freeform 27">
              <a:extLst>
                <a:ext uri="{FF2B5EF4-FFF2-40B4-BE49-F238E27FC236}">
                  <a16:creationId xmlns:a16="http://schemas.microsoft.com/office/drawing/2014/main" id="{20B7362B-3957-460E-A36A-83FA15D98190}"/>
                </a:ext>
              </a:extLst>
            </p:cNvPr>
            <p:cNvSpPr/>
            <p:nvPr/>
          </p:nvSpPr>
          <p:spPr>
            <a:xfrm>
              <a:off x="8644870" y="1684010"/>
              <a:ext cx="1798197" cy="1750117"/>
            </a:xfrm>
            <a:custGeom>
              <a:avLst/>
              <a:gdLst>
                <a:gd name="connsiteX0" fmla="*/ 1281057 w 1798197"/>
                <a:gd name="connsiteY0" fmla="*/ 693217 h 1750117"/>
                <a:gd name="connsiteX1" fmla="*/ 987352 w 1798197"/>
                <a:gd name="connsiteY1" fmla="*/ 434588 h 1750117"/>
                <a:gd name="connsiteX2" fmla="*/ 601738 w 1798197"/>
                <a:gd name="connsiteY2" fmla="*/ 951845 h 1750117"/>
                <a:gd name="connsiteX3" fmla="*/ 957381 w 1798197"/>
                <a:gd name="connsiteY3" fmla="*/ 1406876 h 1750117"/>
                <a:gd name="connsiteX4" fmla="*/ 1298555 w 1798197"/>
                <a:gd name="connsiteY4" fmla="*/ 1122384 h 1750117"/>
                <a:gd name="connsiteX5" fmla="*/ 1299039 w 1798197"/>
                <a:gd name="connsiteY5" fmla="*/ 1115189 h 1750117"/>
                <a:gd name="connsiteX6" fmla="*/ 1880456 w 1798197"/>
                <a:gd name="connsiteY6" fmla="*/ 1115189 h 1750117"/>
                <a:gd name="connsiteX7" fmla="*/ 959379 w 1798197"/>
                <a:gd name="connsiteY7" fmla="*/ 1854128 h 1750117"/>
                <a:gd name="connsiteX8" fmla="*/ 3708 w 1798197"/>
                <a:gd name="connsiteY8" fmla="*/ 1029520 h 1750117"/>
                <a:gd name="connsiteX9" fmla="*/ 2339 w 1798197"/>
                <a:gd name="connsiteY9" fmla="*/ 955734 h 1750117"/>
                <a:gd name="connsiteX10" fmla="*/ 852209 w 1798197"/>
                <a:gd name="connsiteY10" fmla="*/ 2239 h 1750117"/>
                <a:gd name="connsiteX11" fmla="*/ 959379 w 1798197"/>
                <a:gd name="connsiteY11" fmla="*/ 948 h 1750117"/>
                <a:gd name="connsiteX12" fmla="*/ 1862474 w 1798197"/>
                <a:gd name="connsiteY12" fmla="*/ 693217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8197" h="1750117">
                  <a:moveTo>
                    <a:pt x="1281057" y="693217"/>
                  </a:moveTo>
                  <a:cubicBezTo>
                    <a:pt x="1272452" y="543270"/>
                    <a:pt x="1141507" y="427964"/>
                    <a:pt x="987352" y="434588"/>
                  </a:cubicBezTo>
                  <a:cubicBezTo>
                    <a:pt x="653686" y="434588"/>
                    <a:pt x="601738" y="708773"/>
                    <a:pt x="601738" y="951845"/>
                  </a:cubicBezTo>
                  <a:cubicBezTo>
                    <a:pt x="601738" y="1194917"/>
                    <a:pt x="703636" y="1406876"/>
                    <a:pt x="957381" y="1406876"/>
                  </a:cubicBezTo>
                  <a:cubicBezTo>
                    <a:pt x="1132312" y="1420009"/>
                    <a:pt x="1285061" y="1292638"/>
                    <a:pt x="1298555" y="1122384"/>
                  </a:cubicBezTo>
                  <a:cubicBezTo>
                    <a:pt x="1298745" y="1119988"/>
                    <a:pt x="1298906" y="1117589"/>
                    <a:pt x="1299039" y="1115189"/>
                  </a:cubicBezTo>
                  <a:lnTo>
                    <a:pt x="1880456" y="1115189"/>
                  </a:lnTo>
                  <a:cubicBezTo>
                    <a:pt x="1826510" y="1583832"/>
                    <a:pt x="1446891" y="1854128"/>
                    <a:pt x="959379" y="1854128"/>
                  </a:cubicBezTo>
                  <a:cubicBezTo>
                    <a:pt x="461513" y="1883264"/>
                    <a:pt x="33645" y="1514074"/>
                    <a:pt x="3708" y="1029520"/>
                  </a:cubicBezTo>
                  <a:cubicBezTo>
                    <a:pt x="2191" y="1004954"/>
                    <a:pt x="1734" y="980337"/>
                    <a:pt x="2339" y="955734"/>
                  </a:cubicBezTo>
                  <a:cubicBezTo>
                    <a:pt x="-33510" y="464023"/>
                    <a:pt x="346990" y="37129"/>
                    <a:pt x="852209" y="2239"/>
                  </a:cubicBezTo>
                  <a:cubicBezTo>
                    <a:pt x="887876" y="-225"/>
                    <a:pt x="923660" y="-655"/>
                    <a:pt x="959379" y="948"/>
                  </a:cubicBezTo>
                  <a:cubicBezTo>
                    <a:pt x="1414923" y="948"/>
                    <a:pt x="1814522" y="240131"/>
                    <a:pt x="1862474" y="693217"/>
                  </a:cubicBez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" name="Freeform 28">
              <a:extLst>
                <a:ext uri="{FF2B5EF4-FFF2-40B4-BE49-F238E27FC236}">
                  <a16:creationId xmlns:a16="http://schemas.microsoft.com/office/drawing/2014/main" id="{843933D0-9E47-471F-A772-967100216D96}"/>
                </a:ext>
              </a:extLst>
            </p:cNvPr>
            <p:cNvSpPr/>
            <p:nvPr/>
          </p:nvSpPr>
          <p:spPr>
            <a:xfrm>
              <a:off x="14874966" y="1682397"/>
              <a:ext cx="1798197" cy="1750117"/>
            </a:xfrm>
            <a:custGeom>
              <a:avLst/>
              <a:gdLst>
                <a:gd name="connsiteX0" fmla="*/ 9991 w 1798197"/>
                <a:gd name="connsiteY0" fmla="*/ 47285 h 1750117"/>
                <a:gd name="connsiteX1" fmla="*/ 589409 w 1798197"/>
                <a:gd name="connsiteY1" fmla="*/ 47285 h 1750117"/>
                <a:gd name="connsiteX2" fmla="*/ 589409 w 1798197"/>
                <a:gd name="connsiteY2" fmla="*/ 300080 h 1750117"/>
                <a:gd name="connsiteX3" fmla="*/ 589409 w 1798197"/>
                <a:gd name="connsiteY3" fmla="*/ 300080 h 1750117"/>
                <a:gd name="connsiteX4" fmla="*/ 1140856 w 1798197"/>
                <a:gd name="connsiteY4" fmla="*/ 616 h 1750117"/>
                <a:gd name="connsiteX5" fmla="*/ 1822174 w 1798197"/>
                <a:gd name="connsiteY5" fmla="*/ 679272 h 1750117"/>
                <a:gd name="connsiteX6" fmla="*/ 1822174 w 1798197"/>
                <a:gd name="connsiteY6" fmla="*/ 1797403 h 1750117"/>
                <a:gd name="connsiteX7" fmla="*/ 1222775 w 1798197"/>
                <a:gd name="connsiteY7" fmla="*/ 1797403 h 1750117"/>
                <a:gd name="connsiteX8" fmla="*/ 1222775 w 1798197"/>
                <a:gd name="connsiteY8" fmla="*/ 957346 h 1750117"/>
                <a:gd name="connsiteX9" fmla="*/ 923075 w 1798197"/>
                <a:gd name="connsiteY9" fmla="*/ 473147 h 1750117"/>
                <a:gd name="connsiteX10" fmla="*/ 599399 w 1798197"/>
                <a:gd name="connsiteY10" fmla="*/ 895120 h 1750117"/>
                <a:gd name="connsiteX11" fmla="*/ 599399 w 1798197"/>
                <a:gd name="connsiteY11" fmla="*/ 1797403 h 1750117"/>
                <a:gd name="connsiteX12" fmla="*/ 0 w 1798197"/>
                <a:gd name="connsiteY12" fmla="*/ 1797403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8197" h="1750117">
                  <a:moveTo>
                    <a:pt x="9991" y="47285"/>
                  </a:moveTo>
                  <a:lnTo>
                    <a:pt x="589409" y="47285"/>
                  </a:lnTo>
                  <a:lnTo>
                    <a:pt x="589409" y="300080"/>
                  </a:lnTo>
                  <a:lnTo>
                    <a:pt x="589409" y="300080"/>
                  </a:lnTo>
                  <a:cubicBezTo>
                    <a:pt x="699916" y="106473"/>
                    <a:pt x="913537" y="-9534"/>
                    <a:pt x="1140856" y="616"/>
                  </a:cubicBezTo>
                  <a:cubicBezTo>
                    <a:pt x="1740256" y="616"/>
                    <a:pt x="1822174" y="426477"/>
                    <a:pt x="1822174" y="679272"/>
                  </a:cubicBezTo>
                  <a:lnTo>
                    <a:pt x="1822174" y="1797403"/>
                  </a:lnTo>
                  <a:lnTo>
                    <a:pt x="1222775" y="1797403"/>
                  </a:lnTo>
                  <a:lnTo>
                    <a:pt x="1222775" y="957346"/>
                  </a:lnTo>
                  <a:cubicBezTo>
                    <a:pt x="1222775" y="718164"/>
                    <a:pt x="1234762" y="473147"/>
                    <a:pt x="923075" y="473147"/>
                  </a:cubicBezTo>
                  <a:cubicBezTo>
                    <a:pt x="723275" y="473147"/>
                    <a:pt x="599399" y="638436"/>
                    <a:pt x="599399" y="895120"/>
                  </a:cubicBezTo>
                  <a:lnTo>
                    <a:pt x="599399" y="1797403"/>
                  </a:lnTo>
                  <a:lnTo>
                    <a:pt x="0" y="1797403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5" name="Freeform 29">
              <a:extLst>
                <a:ext uri="{FF2B5EF4-FFF2-40B4-BE49-F238E27FC236}">
                  <a16:creationId xmlns:a16="http://schemas.microsoft.com/office/drawing/2014/main" id="{EE2F0920-8A64-42B1-905F-F1EABA05FCE7}"/>
                </a:ext>
              </a:extLst>
            </p:cNvPr>
            <p:cNvSpPr/>
            <p:nvPr/>
          </p:nvSpPr>
          <p:spPr>
            <a:xfrm>
              <a:off x="16836998" y="1682369"/>
              <a:ext cx="1798197" cy="1750117"/>
            </a:xfrm>
            <a:custGeom>
              <a:avLst/>
              <a:gdLst>
                <a:gd name="connsiteX0" fmla="*/ 67932 w 1798197"/>
                <a:gd name="connsiteY0" fmla="*/ 591795 h 1750117"/>
                <a:gd name="connsiteX1" fmla="*/ 353646 w 1798197"/>
                <a:gd name="connsiteY1" fmla="*/ 123152 h 1750117"/>
                <a:gd name="connsiteX2" fmla="*/ 935063 w 1798197"/>
                <a:gd name="connsiteY2" fmla="*/ 644 h 1750117"/>
                <a:gd name="connsiteX3" fmla="*/ 1786210 w 1798197"/>
                <a:gd name="connsiteY3" fmla="*/ 584016 h 1750117"/>
                <a:gd name="connsiteX4" fmla="*/ 1786210 w 1798197"/>
                <a:gd name="connsiteY4" fmla="*/ 1356012 h 1750117"/>
                <a:gd name="connsiteX5" fmla="*/ 1858138 w 1798197"/>
                <a:gd name="connsiteY5" fmla="*/ 1797431 h 1750117"/>
                <a:gd name="connsiteX6" fmla="*/ 1258739 w 1798197"/>
                <a:gd name="connsiteY6" fmla="*/ 1797431 h 1750117"/>
                <a:gd name="connsiteX7" fmla="*/ 1222775 w 1798197"/>
                <a:gd name="connsiteY7" fmla="*/ 1632142 h 1750117"/>
                <a:gd name="connsiteX8" fmla="*/ 623376 w 1798197"/>
                <a:gd name="connsiteY8" fmla="*/ 1847990 h 1750117"/>
                <a:gd name="connsiteX9" fmla="*/ 0 w 1798197"/>
                <a:gd name="connsiteY9" fmla="*/ 1317121 h 1750117"/>
                <a:gd name="connsiteX10" fmla="*/ 1062935 w 1798197"/>
                <a:gd name="connsiteY10" fmla="*/ 710414 h 1750117"/>
                <a:gd name="connsiteX11" fmla="*/ 1222775 w 1798197"/>
                <a:gd name="connsiteY11" fmla="*/ 547069 h 1750117"/>
                <a:gd name="connsiteX12" fmla="*/ 933065 w 1798197"/>
                <a:gd name="connsiteY12" fmla="*/ 366224 h 1750117"/>
                <a:gd name="connsiteX13" fmla="*/ 633365 w 1798197"/>
                <a:gd name="connsiteY13" fmla="*/ 584016 h 1750117"/>
                <a:gd name="connsiteX14" fmla="*/ 843155 w 1798197"/>
                <a:gd name="connsiteY14" fmla="*/ 1499911 h 1750117"/>
                <a:gd name="connsiteX15" fmla="*/ 1208789 w 1798197"/>
                <a:gd name="connsiteY15" fmla="*/ 984599 h 1750117"/>
                <a:gd name="connsiteX16" fmla="*/ 839160 w 1798197"/>
                <a:gd name="connsiteY16" fmla="*/ 1077938 h 1750117"/>
                <a:gd name="connsiteX17" fmla="*/ 593405 w 1798197"/>
                <a:gd name="connsiteY17" fmla="*/ 1301564 h 1750117"/>
                <a:gd name="connsiteX18" fmla="*/ 843155 w 1798197"/>
                <a:gd name="connsiteY18" fmla="*/ 1496022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98197" h="1750117">
                  <a:moveTo>
                    <a:pt x="67932" y="591795"/>
                  </a:moveTo>
                  <a:cubicBezTo>
                    <a:pt x="68543" y="396642"/>
                    <a:pt x="177947" y="217193"/>
                    <a:pt x="353646" y="123152"/>
                  </a:cubicBezTo>
                  <a:cubicBezTo>
                    <a:pt x="534107" y="36279"/>
                    <a:pt x="733842" y="-5806"/>
                    <a:pt x="935063" y="644"/>
                  </a:cubicBezTo>
                  <a:cubicBezTo>
                    <a:pt x="1366630" y="644"/>
                    <a:pt x="1786210" y="92039"/>
                    <a:pt x="1786210" y="584016"/>
                  </a:cubicBezTo>
                  <a:lnTo>
                    <a:pt x="1786210" y="1356012"/>
                  </a:lnTo>
                  <a:cubicBezTo>
                    <a:pt x="1775222" y="1506568"/>
                    <a:pt x="1799827" y="1657572"/>
                    <a:pt x="1858138" y="1797431"/>
                  </a:cubicBezTo>
                  <a:lnTo>
                    <a:pt x="1258739" y="1797431"/>
                  </a:lnTo>
                  <a:cubicBezTo>
                    <a:pt x="1239900" y="1743960"/>
                    <a:pt x="1227823" y="1688455"/>
                    <a:pt x="1222775" y="1632142"/>
                  </a:cubicBezTo>
                  <a:cubicBezTo>
                    <a:pt x="1060166" y="1778408"/>
                    <a:pt x="844642" y="1856020"/>
                    <a:pt x="623376" y="1847990"/>
                  </a:cubicBezTo>
                  <a:cubicBezTo>
                    <a:pt x="273726" y="1847990"/>
                    <a:pt x="0" y="1678812"/>
                    <a:pt x="0" y="1317121"/>
                  </a:cubicBezTo>
                  <a:cubicBezTo>
                    <a:pt x="0" y="747361"/>
                    <a:pt x="647351" y="790141"/>
                    <a:pt x="1062935" y="710414"/>
                  </a:cubicBezTo>
                  <a:cubicBezTo>
                    <a:pt x="1164833" y="689023"/>
                    <a:pt x="1222775" y="655966"/>
                    <a:pt x="1222775" y="547069"/>
                  </a:cubicBezTo>
                  <a:cubicBezTo>
                    <a:pt x="1222775" y="438173"/>
                    <a:pt x="1056941" y="366224"/>
                    <a:pt x="933065" y="366224"/>
                  </a:cubicBezTo>
                  <a:cubicBezTo>
                    <a:pt x="788695" y="346522"/>
                    <a:pt x="654972" y="443699"/>
                    <a:pt x="633365" y="584016"/>
                  </a:cubicBezTo>
                  <a:close/>
                  <a:moveTo>
                    <a:pt x="843155" y="1499911"/>
                  </a:moveTo>
                  <a:cubicBezTo>
                    <a:pt x="1126871" y="1499911"/>
                    <a:pt x="1222775" y="1346290"/>
                    <a:pt x="1208789" y="984599"/>
                  </a:cubicBezTo>
                  <a:cubicBezTo>
                    <a:pt x="1089639" y="1029330"/>
                    <a:pt x="965624" y="1060647"/>
                    <a:pt x="839160" y="1077938"/>
                  </a:cubicBezTo>
                  <a:cubicBezTo>
                    <a:pt x="705293" y="1109052"/>
                    <a:pt x="593405" y="1163500"/>
                    <a:pt x="593405" y="1301564"/>
                  </a:cubicBezTo>
                  <a:cubicBezTo>
                    <a:pt x="593405" y="1439629"/>
                    <a:pt x="709290" y="1496022"/>
                    <a:pt x="843155" y="1496022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6" name="Freeform 30">
              <a:extLst>
                <a:ext uri="{FF2B5EF4-FFF2-40B4-BE49-F238E27FC236}">
                  <a16:creationId xmlns:a16="http://schemas.microsoft.com/office/drawing/2014/main" id="{4F91B5FC-B7A7-47E1-A21C-5BC52B8528A3}"/>
                </a:ext>
              </a:extLst>
            </p:cNvPr>
            <p:cNvSpPr/>
            <p:nvPr/>
          </p:nvSpPr>
          <p:spPr>
            <a:xfrm>
              <a:off x="18819012" y="1344657"/>
              <a:ext cx="599399" cy="2139032"/>
            </a:xfrm>
            <a:custGeom>
              <a:avLst/>
              <a:gdLst>
                <a:gd name="connsiteX0" fmla="*/ -1 w 599399"/>
                <a:gd name="connsiteY0" fmla="*/ 0 h 2139032"/>
                <a:gd name="connsiteX1" fmla="*/ 599398 w 599399"/>
                <a:gd name="connsiteY1" fmla="*/ 0 h 2139032"/>
                <a:gd name="connsiteX2" fmla="*/ 599398 w 599399"/>
                <a:gd name="connsiteY2" fmla="*/ 2142921 h 2139032"/>
                <a:gd name="connsiteX3" fmla="*/ -1 w 599399"/>
                <a:gd name="connsiteY3" fmla="*/ 2142921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9399" h="2139032">
                  <a:moveTo>
                    <a:pt x="-1" y="0"/>
                  </a:moveTo>
                  <a:lnTo>
                    <a:pt x="599398" y="0"/>
                  </a:lnTo>
                  <a:lnTo>
                    <a:pt x="599398" y="2142921"/>
                  </a:lnTo>
                  <a:lnTo>
                    <a:pt x="-1" y="2142921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7" name="Freeform 31">
              <a:extLst>
                <a:ext uri="{FF2B5EF4-FFF2-40B4-BE49-F238E27FC236}">
                  <a16:creationId xmlns:a16="http://schemas.microsoft.com/office/drawing/2014/main" id="{C86BF1CC-370F-4F25-8B13-B0F36D06D8E0}"/>
                </a:ext>
              </a:extLst>
            </p:cNvPr>
            <p:cNvSpPr/>
            <p:nvPr/>
          </p:nvSpPr>
          <p:spPr>
            <a:xfrm>
              <a:off x="19550279" y="1340768"/>
              <a:ext cx="1798197" cy="2139032"/>
            </a:xfrm>
            <a:custGeom>
              <a:avLst/>
              <a:gdLst>
                <a:gd name="connsiteX0" fmla="*/ 1898097 w 1798197"/>
                <a:gd name="connsiteY0" fmla="*/ 2139032 h 2139032"/>
                <a:gd name="connsiteX1" fmla="*/ 1320676 w 1798197"/>
                <a:gd name="connsiteY1" fmla="*/ 2139032 h 2139032"/>
                <a:gd name="connsiteX2" fmla="*/ 1320676 w 1798197"/>
                <a:gd name="connsiteY2" fmla="*/ 1944575 h 2139032"/>
                <a:gd name="connsiteX3" fmla="*/ 1320676 w 1798197"/>
                <a:gd name="connsiteY3" fmla="*/ 1944575 h 2139032"/>
                <a:gd name="connsiteX4" fmla="*/ 817182 w 1798197"/>
                <a:gd name="connsiteY4" fmla="*/ 2199314 h 2139032"/>
                <a:gd name="connsiteX5" fmla="*/ 0 w 1798197"/>
                <a:gd name="connsiteY5" fmla="*/ 1227027 h 2139032"/>
                <a:gd name="connsiteX6" fmla="*/ 771227 w 1798197"/>
                <a:gd name="connsiteY6" fmla="*/ 338356 h 2139032"/>
                <a:gd name="connsiteX7" fmla="*/ 1284712 w 1798197"/>
                <a:gd name="connsiteY7" fmla="*/ 583372 h 2139032"/>
                <a:gd name="connsiteX8" fmla="*/ 1284712 w 1798197"/>
                <a:gd name="connsiteY8" fmla="*/ 583372 h 2139032"/>
                <a:gd name="connsiteX9" fmla="*/ 1284712 w 1798197"/>
                <a:gd name="connsiteY9" fmla="*/ 0 h 2139032"/>
                <a:gd name="connsiteX10" fmla="*/ 1884111 w 1798197"/>
                <a:gd name="connsiteY10" fmla="*/ 0 h 2139032"/>
                <a:gd name="connsiteX11" fmla="*/ 597401 w 1798197"/>
                <a:gd name="connsiteY11" fmla="*/ 1244528 h 2139032"/>
                <a:gd name="connsiteX12" fmla="*/ 965033 w 1798197"/>
                <a:gd name="connsiteY12" fmla="*/ 1750117 h 2139032"/>
                <a:gd name="connsiteX13" fmla="*/ 1320676 w 1798197"/>
                <a:gd name="connsiteY13" fmla="*/ 1260084 h 2139032"/>
                <a:gd name="connsiteX14" fmla="*/ 959039 w 1798197"/>
                <a:gd name="connsiteY14" fmla="*/ 777830 h 2139032"/>
                <a:gd name="connsiteX15" fmla="*/ 591407 w 1798197"/>
                <a:gd name="connsiteY15" fmla="*/ 1248417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98197" h="2139032">
                  <a:moveTo>
                    <a:pt x="1898097" y="2139032"/>
                  </a:moveTo>
                  <a:lnTo>
                    <a:pt x="1320676" y="2139032"/>
                  </a:lnTo>
                  <a:lnTo>
                    <a:pt x="1320676" y="1944575"/>
                  </a:lnTo>
                  <a:lnTo>
                    <a:pt x="1320676" y="1944575"/>
                  </a:lnTo>
                  <a:cubicBezTo>
                    <a:pt x="1209173" y="2108272"/>
                    <a:pt x="1018907" y="2204536"/>
                    <a:pt x="817182" y="2199314"/>
                  </a:cubicBezTo>
                  <a:cubicBezTo>
                    <a:pt x="241757" y="2199314"/>
                    <a:pt x="0" y="1726782"/>
                    <a:pt x="0" y="1227027"/>
                  </a:cubicBezTo>
                  <a:cubicBezTo>
                    <a:pt x="0" y="771996"/>
                    <a:pt x="251748" y="338356"/>
                    <a:pt x="771227" y="338356"/>
                  </a:cubicBezTo>
                  <a:cubicBezTo>
                    <a:pt x="973505" y="332283"/>
                    <a:pt x="1165764" y="424022"/>
                    <a:pt x="1284712" y="583372"/>
                  </a:cubicBezTo>
                  <a:lnTo>
                    <a:pt x="1284712" y="583372"/>
                  </a:lnTo>
                  <a:lnTo>
                    <a:pt x="1284712" y="0"/>
                  </a:lnTo>
                  <a:lnTo>
                    <a:pt x="1884111" y="0"/>
                  </a:lnTo>
                  <a:close/>
                  <a:moveTo>
                    <a:pt x="597401" y="1244528"/>
                  </a:moveTo>
                  <a:cubicBezTo>
                    <a:pt x="597401" y="1483710"/>
                    <a:pt x="689308" y="1750117"/>
                    <a:pt x="965033" y="1750117"/>
                  </a:cubicBezTo>
                  <a:cubicBezTo>
                    <a:pt x="1240756" y="1750117"/>
                    <a:pt x="1320676" y="1483710"/>
                    <a:pt x="1320676" y="1260084"/>
                  </a:cubicBezTo>
                  <a:cubicBezTo>
                    <a:pt x="1320676" y="1036458"/>
                    <a:pt x="1218778" y="777830"/>
                    <a:pt x="959039" y="777830"/>
                  </a:cubicBezTo>
                  <a:cubicBezTo>
                    <a:pt x="699299" y="777830"/>
                    <a:pt x="591407" y="1024791"/>
                    <a:pt x="591407" y="1248417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8" name="Freeform 32">
              <a:extLst>
                <a:ext uri="{FF2B5EF4-FFF2-40B4-BE49-F238E27FC236}">
                  <a16:creationId xmlns:a16="http://schemas.microsoft.com/office/drawing/2014/main" id="{0153857C-29D9-454A-BDAC-FCB1B9AE24E9}"/>
                </a:ext>
              </a:extLst>
            </p:cNvPr>
            <p:cNvSpPr/>
            <p:nvPr/>
          </p:nvSpPr>
          <p:spPr>
            <a:xfrm>
              <a:off x="21566257" y="1344657"/>
              <a:ext cx="399599" cy="388915"/>
            </a:xfrm>
            <a:custGeom>
              <a:avLst/>
              <a:gdLst>
                <a:gd name="connsiteX0" fmla="*/ 281718 w 399599"/>
                <a:gd name="connsiteY0" fmla="*/ 579483 h 388914"/>
                <a:gd name="connsiteX1" fmla="*/ 0 w 399599"/>
                <a:gd name="connsiteY1" fmla="*/ 579483 h 388914"/>
                <a:gd name="connsiteX2" fmla="*/ 0 w 399599"/>
                <a:gd name="connsiteY2" fmla="*/ 0 h 388914"/>
                <a:gd name="connsiteX3" fmla="*/ 561438 w 399599"/>
                <a:gd name="connsiteY3" fmla="*/ 0 h 388914"/>
                <a:gd name="connsiteX4" fmla="*/ 281718 w 399599"/>
                <a:gd name="connsiteY4" fmla="*/ 579483 h 38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599" h="388914">
                  <a:moveTo>
                    <a:pt x="281718" y="579483"/>
                  </a:moveTo>
                  <a:lnTo>
                    <a:pt x="0" y="579483"/>
                  </a:lnTo>
                  <a:lnTo>
                    <a:pt x="0" y="0"/>
                  </a:lnTo>
                  <a:lnTo>
                    <a:pt x="561438" y="0"/>
                  </a:lnTo>
                  <a:lnTo>
                    <a:pt x="281718" y="579483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9" name="Freeform 33">
              <a:extLst>
                <a:ext uri="{FF2B5EF4-FFF2-40B4-BE49-F238E27FC236}">
                  <a16:creationId xmlns:a16="http://schemas.microsoft.com/office/drawing/2014/main" id="{33B7D20C-9AD9-44F3-8F65-EB2F411089E8}"/>
                </a:ext>
              </a:extLst>
            </p:cNvPr>
            <p:cNvSpPr/>
            <p:nvPr/>
          </p:nvSpPr>
          <p:spPr>
            <a:xfrm>
              <a:off x="10659192" y="1340768"/>
              <a:ext cx="1997997" cy="2139032"/>
            </a:xfrm>
            <a:custGeom>
              <a:avLst/>
              <a:gdLst>
                <a:gd name="connsiteX0" fmla="*/ 951047 w 1997996"/>
                <a:gd name="connsiteY0" fmla="*/ 0 h 2139032"/>
                <a:gd name="connsiteX1" fmla="*/ 0 w 1997996"/>
                <a:gd name="connsiteY1" fmla="*/ 0 h 2139032"/>
                <a:gd name="connsiteX2" fmla="*/ 0 w 1997996"/>
                <a:gd name="connsiteY2" fmla="*/ 2139032 h 2139032"/>
                <a:gd name="connsiteX3" fmla="*/ 961036 w 1997996"/>
                <a:gd name="connsiteY3" fmla="*/ 2139032 h 2139032"/>
                <a:gd name="connsiteX4" fmla="*/ 2057937 w 1997996"/>
                <a:gd name="connsiteY4" fmla="*/ 1057849 h 2139032"/>
                <a:gd name="connsiteX5" fmla="*/ 951047 w 1997996"/>
                <a:gd name="connsiteY5" fmla="*/ 0 h 2139032"/>
                <a:gd name="connsiteX6" fmla="*/ 897101 w 1997996"/>
                <a:gd name="connsiteY6" fmla="*/ 1645110 h 2139032"/>
                <a:gd name="connsiteX7" fmla="*/ 629369 w 1997996"/>
                <a:gd name="connsiteY7" fmla="*/ 1645110 h 2139032"/>
                <a:gd name="connsiteX8" fmla="*/ 629369 w 1997996"/>
                <a:gd name="connsiteY8" fmla="*/ 499756 h 2139032"/>
                <a:gd name="connsiteX9" fmla="*/ 897101 w 1997996"/>
                <a:gd name="connsiteY9" fmla="*/ 499756 h 2139032"/>
                <a:gd name="connsiteX10" fmla="*/ 1400596 w 1997996"/>
                <a:gd name="connsiteY10" fmla="*/ 1063682 h 2139032"/>
                <a:gd name="connsiteX11" fmla="*/ 897101 w 1997996"/>
                <a:gd name="connsiteY11" fmla="*/ 1647055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7996" h="2139032">
                  <a:moveTo>
                    <a:pt x="951047" y="0"/>
                  </a:moveTo>
                  <a:lnTo>
                    <a:pt x="0" y="0"/>
                  </a:lnTo>
                  <a:lnTo>
                    <a:pt x="0" y="2139032"/>
                  </a:lnTo>
                  <a:lnTo>
                    <a:pt x="961036" y="2139032"/>
                  </a:lnTo>
                  <a:cubicBezTo>
                    <a:pt x="1640355" y="2139032"/>
                    <a:pt x="2057937" y="1759840"/>
                    <a:pt x="2057937" y="1057849"/>
                  </a:cubicBezTo>
                  <a:cubicBezTo>
                    <a:pt x="2047947" y="402527"/>
                    <a:pt x="1636359" y="0"/>
                    <a:pt x="951047" y="0"/>
                  </a:cubicBezTo>
                  <a:moveTo>
                    <a:pt x="897101" y="1645110"/>
                  </a:moveTo>
                  <a:lnTo>
                    <a:pt x="629369" y="1645110"/>
                  </a:lnTo>
                  <a:lnTo>
                    <a:pt x="629369" y="499756"/>
                  </a:lnTo>
                  <a:lnTo>
                    <a:pt x="897101" y="499756"/>
                  </a:lnTo>
                  <a:cubicBezTo>
                    <a:pt x="1244752" y="499756"/>
                    <a:pt x="1400596" y="723382"/>
                    <a:pt x="1400596" y="1063682"/>
                  </a:cubicBezTo>
                  <a:cubicBezTo>
                    <a:pt x="1400596" y="1438985"/>
                    <a:pt x="1274722" y="1647055"/>
                    <a:pt x="897101" y="1647055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0" name="Freeform 34">
              <a:extLst>
                <a:ext uri="{FF2B5EF4-FFF2-40B4-BE49-F238E27FC236}">
                  <a16:creationId xmlns:a16="http://schemas.microsoft.com/office/drawing/2014/main" id="{9FBFD28B-9D4F-483D-A07F-1E24083D295B}"/>
                </a:ext>
              </a:extLst>
            </p:cNvPr>
            <p:cNvSpPr/>
            <p:nvPr/>
          </p:nvSpPr>
          <p:spPr>
            <a:xfrm>
              <a:off x="5664200" y="1340768"/>
              <a:ext cx="2996995" cy="2139032"/>
            </a:xfrm>
            <a:custGeom>
              <a:avLst/>
              <a:gdLst>
                <a:gd name="connsiteX0" fmla="*/ 1842153 w 2996995"/>
                <a:gd name="connsiteY0" fmla="*/ 2139032 h 2139032"/>
                <a:gd name="connsiteX1" fmla="*/ 2081913 w 2996995"/>
                <a:gd name="connsiteY1" fmla="*/ 1279530 h 2139032"/>
                <a:gd name="connsiteX2" fmla="*/ 2145849 w 2996995"/>
                <a:gd name="connsiteY2" fmla="*/ 1003400 h 2139032"/>
                <a:gd name="connsiteX3" fmla="*/ 2145849 w 2996995"/>
                <a:gd name="connsiteY3" fmla="*/ 1003400 h 2139032"/>
                <a:gd name="connsiteX4" fmla="*/ 2193801 w 2996995"/>
                <a:gd name="connsiteY4" fmla="*/ 1285364 h 2139032"/>
                <a:gd name="connsiteX5" fmla="*/ 2369624 w 2996995"/>
                <a:gd name="connsiteY5" fmla="*/ 2139032 h 2139032"/>
                <a:gd name="connsiteX6" fmla="*/ 3028963 w 2996995"/>
                <a:gd name="connsiteY6" fmla="*/ 2139032 h 2139032"/>
                <a:gd name="connsiteX7" fmla="*/ 2565428 w 2996995"/>
                <a:gd name="connsiteY7" fmla="*/ 0 h 2139032"/>
                <a:gd name="connsiteX8" fmla="*/ 1868127 w 2996995"/>
                <a:gd name="connsiteY8" fmla="*/ 0 h 2139032"/>
                <a:gd name="connsiteX9" fmla="*/ 1598398 w 2996995"/>
                <a:gd name="connsiteY9" fmla="*/ 1079239 h 2139032"/>
                <a:gd name="connsiteX10" fmla="*/ 1518478 w 2996995"/>
                <a:gd name="connsiteY10" fmla="*/ 1361202 h 2139032"/>
                <a:gd name="connsiteX11" fmla="*/ 1518478 w 2996995"/>
                <a:gd name="connsiteY11" fmla="*/ 1361202 h 2139032"/>
                <a:gd name="connsiteX12" fmla="*/ 1440556 w 2996995"/>
                <a:gd name="connsiteY12" fmla="*/ 1079239 h 2139032"/>
                <a:gd name="connsiteX13" fmla="*/ 1160836 w 2996995"/>
                <a:gd name="connsiteY13" fmla="*/ 0 h 2139032"/>
                <a:gd name="connsiteX14" fmla="*/ 461537 w 2996995"/>
                <a:gd name="connsiteY14" fmla="*/ 0 h 2139032"/>
                <a:gd name="connsiteX15" fmla="*/ 0 w 2996995"/>
                <a:gd name="connsiteY15" fmla="*/ 2139032 h 2139032"/>
                <a:gd name="connsiteX16" fmla="*/ 659339 w 2996995"/>
                <a:gd name="connsiteY16" fmla="*/ 2139032 h 2139032"/>
                <a:gd name="connsiteX17" fmla="*/ 829169 w 2996995"/>
                <a:gd name="connsiteY17" fmla="*/ 1285364 h 2139032"/>
                <a:gd name="connsiteX18" fmla="*/ 875123 w 2996995"/>
                <a:gd name="connsiteY18" fmla="*/ 1003400 h 2139032"/>
                <a:gd name="connsiteX19" fmla="*/ 875123 w 2996995"/>
                <a:gd name="connsiteY19" fmla="*/ 1003400 h 2139032"/>
                <a:gd name="connsiteX20" fmla="*/ 939059 w 2996995"/>
                <a:gd name="connsiteY20" fmla="*/ 1279530 h 2139032"/>
                <a:gd name="connsiteX21" fmla="*/ 1186810 w 2996995"/>
                <a:gd name="connsiteY21" fmla="*/ 2139032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96995" h="2139032">
                  <a:moveTo>
                    <a:pt x="1842153" y="2139032"/>
                  </a:moveTo>
                  <a:lnTo>
                    <a:pt x="2081913" y="1279530"/>
                  </a:lnTo>
                  <a:cubicBezTo>
                    <a:pt x="2107887" y="1178412"/>
                    <a:pt x="2135859" y="1061738"/>
                    <a:pt x="2145849" y="1003400"/>
                  </a:cubicBezTo>
                  <a:lnTo>
                    <a:pt x="2145849" y="1003400"/>
                  </a:lnTo>
                  <a:cubicBezTo>
                    <a:pt x="2145849" y="1048126"/>
                    <a:pt x="2169825" y="1176468"/>
                    <a:pt x="2193801" y="1285364"/>
                  </a:cubicBezTo>
                  <a:lnTo>
                    <a:pt x="2369624" y="2139032"/>
                  </a:lnTo>
                  <a:lnTo>
                    <a:pt x="3028963" y="2139032"/>
                  </a:lnTo>
                  <a:lnTo>
                    <a:pt x="2565428" y="0"/>
                  </a:lnTo>
                  <a:lnTo>
                    <a:pt x="1868127" y="0"/>
                  </a:lnTo>
                  <a:lnTo>
                    <a:pt x="1598398" y="1079239"/>
                  </a:lnTo>
                  <a:cubicBezTo>
                    <a:pt x="1564432" y="1166745"/>
                    <a:pt x="1534462" y="1297031"/>
                    <a:pt x="1518478" y="1361202"/>
                  </a:cubicBezTo>
                  <a:lnTo>
                    <a:pt x="1518478" y="1361202"/>
                  </a:lnTo>
                  <a:cubicBezTo>
                    <a:pt x="1492504" y="1297031"/>
                    <a:pt x="1464532" y="1166745"/>
                    <a:pt x="1440556" y="1079239"/>
                  </a:cubicBezTo>
                  <a:lnTo>
                    <a:pt x="1160836" y="0"/>
                  </a:lnTo>
                  <a:lnTo>
                    <a:pt x="461537" y="0"/>
                  </a:lnTo>
                  <a:lnTo>
                    <a:pt x="0" y="2139032"/>
                  </a:lnTo>
                  <a:lnTo>
                    <a:pt x="659339" y="2139032"/>
                  </a:lnTo>
                  <a:lnTo>
                    <a:pt x="829169" y="1285364"/>
                  </a:lnTo>
                  <a:cubicBezTo>
                    <a:pt x="851147" y="1176468"/>
                    <a:pt x="869129" y="1048126"/>
                    <a:pt x="875123" y="1003400"/>
                  </a:cubicBezTo>
                  <a:lnTo>
                    <a:pt x="875123" y="1003400"/>
                  </a:lnTo>
                  <a:cubicBezTo>
                    <a:pt x="875123" y="1061738"/>
                    <a:pt x="911087" y="1178412"/>
                    <a:pt x="939059" y="1279530"/>
                  </a:cubicBezTo>
                  <a:lnTo>
                    <a:pt x="1186810" y="2139032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1" name="Freeform 35">
              <a:extLst>
                <a:ext uri="{FF2B5EF4-FFF2-40B4-BE49-F238E27FC236}">
                  <a16:creationId xmlns:a16="http://schemas.microsoft.com/office/drawing/2014/main" id="{6C879AEC-F566-46B5-A7E9-D957671415FE}"/>
                </a:ext>
              </a:extLst>
            </p:cNvPr>
            <p:cNvSpPr/>
            <p:nvPr/>
          </p:nvSpPr>
          <p:spPr>
            <a:xfrm>
              <a:off x="12830059" y="1683552"/>
              <a:ext cx="1798197" cy="1750117"/>
            </a:xfrm>
            <a:custGeom>
              <a:avLst/>
              <a:gdLst>
                <a:gd name="connsiteX0" fmla="*/ 963990 w 1798197"/>
                <a:gd name="connsiteY0" fmla="*/ 1406 h 1750117"/>
                <a:gd name="connsiteX1" fmla="*/ 1436 w 1798197"/>
                <a:gd name="connsiteY1" fmla="*/ 839168 h 1750117"/>
                <a:gd name="connsiteX2" fmla="*/ 956 w 1798197"/>
                <a:gd name="connsiteY2" fmla="*/ 928968 h 1750117"/>
                <a:gd name="connsiteX3" fmla="*/ 871723 w 1798197"/>
                <a:gd name="connsiteY3" fmla="*/ 1856998 h 1750117"/>
                <a:gd name="connsiteX4" fmla="*/ 963991 w 1798197"/>
                <a:gd name="connsiteY4" fmla="*/ 1856530 h 1750117"/>
                <a:gd name="connsiteX5" fmla="*/ 1924651 w 1798197"/>
                <a:gd name="connsiteY5" fmla="*/ 1016712 h 1750117"/>
                <a:gd name="connsiteX6" fmla="*/ 1925028 w 1798197"/>
                <a:gd name="connsiteY6" fmla="*/ 928968 h 1750117"/>
                <a:gd name="connsiteX7" fmla="*/ 1054145 w 1798197"/>
                <a:gd name="connsiteY7" fmla="*/ 1039 h 1750117"/>
                <a:gd name="connsiteX8" fmla="*/ 963991 w 1798197"/>
                <a:gd name="connsiteY8" fmla="*/ 1406 h 1750117"/>
                <a:gd name="connsiteX9" fmla="*/ 963990 w 1798197"/>
                <a:gd name="connsiteY9" fmla="*/ 1419001 h 1750117"/>
                <a:gd name="connsiteX10" fmla="*/ 600355 w 1798197"/>
                <a:gd name="connsiteY10" fmla="*/ 928968 h 1750117"/>
                <a:gd name="connsiteX11" fmla="*/ 963990 w 1798197"/>
                <a:gd name="connsiteY11" fmla="*/ 435046 h 1750117"/>
                <a:gd name="connsiteX12" fmla="*/ 1325628 w 1798197"/>
                <a:gd name="connsiteY12" fmla="*/ 928968 h 1750117"/>
                <a:gd name="connsiteX13" fmla="*/ 963990 w 1798197"/>
                <a:gd name="connsiteY13" fmla="*/ 1419001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98197" h="1750117">
                  <a:moveTo>
                    <a:pt x="963990" y="1406"/>
                  </a:moveTo>
                  <a:cubicBezTo>
                    <a:pt x="460491" y="-25947"/>
                    <a:pt x="29541" y="349132"/>
                    <a:pt x="1436" y="839168"/>
                  </a:cubicBezTo>
                  <a:cubicBezTo>
                    <a:pt x="-278" y="869074"/>
                    <a:pt x="-439" y="899046"/>
                    <a:pt x="956" y="928968"/>
                  </a:cubicBezTo>
                  <a:cubicBezTo>
                    <a:pt x="-21898" y="1419263"/>
                    <a:pt x="367958" y="1834756"/>
                    <a:pt x="871723" y="1856998"/>
                  </a:cubicBezTo>
                  <a:cubicBezTo>
                    <a:pt x="902467" y="1858356"/>
                    <a:pt x="933262" y="1858199"/>
                    <a:pt x="963991" y="1856530"/>
                  </a:cubicBezTo>
                  <a:cubicBezTo>
                    <a:pt x="1467550" y="1882807"/>
                    <a:pt x="1897653" y="1506807"/>
                    <a:pt x="1924651" y="1016712"/>
                  </a:cubicBezTo>
                  <a:cubicBezTo>
                    <a:pt x="1926261" y="987488"/>
                    <a:pt x="1926387" y="958204"/>
                    <a:pt x="1925028" y="928968"/>
                  </a:cubicBezTo>
                  <a:cubicBezTo>
                    <a:pt x="1947820" y="438670"/>
                    <a:pt x="1557913" y="23223"/>
                    <a:pt x="1054145" y="1039"/>
                  </a:cubicBezTo>
                  <a:cubicBezTo>
                    <a:pt x="1024106" y="-283"/>
                    <a:pt x="994018" y="-161"/>
                    <a:pt x="963991" y="1406"/>
                  </a:cubicBezTo>
                  <a:moveTo>
                    <a:pt x="963990" y="1419001"/>
                  </a:moveTo>
                  <a:cubicBezTo>
                    <a:pt x="704251" y="1419001"/>
                    <a:pt x="600355" y="1208987"/>
                    <a:pt x="600355" y="928968"/>
                  </a:cubicBezTo>
                  <a:cubicBezTo>
                    <a:pt x="600355" y="648949"/>
                    <a:pt x="704251" y="435046"/>
                    <a:pt x="963990" y="435046"/>
                  </a:cubicBezTo>
                  <a:cubicBezTo>
                    <a:pt x="1223730" y="435046"/>
                    <a:pt x="1325628" y="648949"/>
                    <a:pt x="1325628" y="928968"/>
                  </a:cubicBezTo>
                  <a:cubicBezTo>
                    <a:pt x="1325628" y="1208987"/>
                    <a:pt x="1225728" y="1419001"/>
                    <a:pt x="963990" y="1419001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" name="Freeform 36">
              <a:extLst>
                <a:ext uri="{FF2B5EF4-FFF2-40B4-BE49-F238E27FC236}">
                  <a16:creationId xmlns:a16="http://schemas.microsoft.com/office/drawing/2014/main" id="{5271A184-B05C-483F-8BE1-5ADCCD855DCF}"/>
                </a:ext>
              </a:extLst>
            </p:cNvPr>
            <p:cNvSpPr/>
            <p:nvPr/>
          </p:nvSpPr>
          <p:spPr>
            <a:xfrm>
              <a:off x="21989833" y="1683013"/>
              <a:ext cx="1598398" cy="1750117"/>
            </a:xfrm>
            <a:custGeom>
              <a:avLst/>
              <a:gdLst>
                <a:gd name="connsiteX0" fmla="*/ 565434 w 1598397"/>
                <a:gd name="connsiteY0" fmla="*/ 1227027 h 1750117"/>
                <a:gd name="connsiteX1" fmla="*/ 663335 w 1598397"/>
                <a:gd name="connsiteY1" fmla="*/ 1421484 h 1750117"/>
                <a:gd name="connsiteX2" fmla="*/ 863135 w 1598397"/>
                <a:gd name="connsiteY2" fmla="*/ 1483710 h 1750117"/>
                <a:gd name="connsiteX3" fmla="*/ 1142855 w 1598397"/>
                <a:gd name="connsiteY3" fmla="*/ 1289253 h 1750117"/>
                <a:gd name="connsiteX4" fmla="*/ 857141 w 1598397"/>
                <a:gd name="connsiteY4" fmla="*/ 1112297 h 1750117"/>
                <a:gd name="connsiteX5" fmla="*/ 9991 w 1598397"/>
                <a:gd name="connsiteY5" fmla="*/ 538647 h 1750117"/>
                <a:gd name="connsiteX6" fmla="*/ 849149 w 1598397"/>
                <a:gd name="connsiteY6" fmla="*/ 0 h 1750117"/>
                <a:gd name="connsiteX7" fmla="*/ 1680316 w 1598397"/>
                <a:gd name="connsiteY7" fmla="*/ 567816 h 1750117"/>
                <a:gd name="connsiteX8" fmla="*/ 1126870 w 1598397"/>
                <a:gd name="connsiteY8" fmla="*/ 567816 h 1750117"/>
                <a:gd name="connsiteX9" fmla="*/ 1056941 w 1598397"/>
                <a:gd name="connsiteY9" fmla="*/ 416139 h 1750117"/>
                <a:gd name="connsiteX10" fmla="*/ 877121 w 1598397"/>
                <a:gd name="connsiteY10" fmla="*/ 371414 h 1750117"/>
                <a:gd name="connsiteX11" fmla="*/ 623376 w 1598397"/>
                <a:gd name="connsiteY11" fmla="*/ 503645 h 1750117"/>
                <a:gd name="connsiteX12" fmla="*/ 1306690 w 1598397"/>
                <a:gd name="connsiteY12" fmla="*/ 756440 h 1750117"/>
                <a:gd name="connsiteX13" fmla="*/ 1764232 w 1598397"/>
                <a:gd name="connsiteY13" fmla="*/ 1230916 h 1750117"/>
                <a:gd name="connsiteX14" fmla="*/ 883114 w 1598397"/>
                <a:gd name="connsiteY14" fmla="*/ 1855124 h 1750117"/>
                <a:gd name="connsiteX15" fmla="*/ 0 w 1598397"/>
                <a:gd name="connsiteY15" fmla="*/ 1227027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98397" h="1750117">
                  <a:moveTo>
                    <a:pt x="565434" y="1227027"/>
                  </a:moveTo>
                  <a:cubicBezTo>
                    <a:pt x="562613" y="1303699"/>
                    <a:pt x="599352" y="1376670"/>
                    <a:pt x="663335" y="1421484"/>
                  </a:cubicBezTo>
                  <a:cubicBezTo>
                    <a:pt x="721521" y="1462225"/>
                    <a:pt x="791457" y="1484006"/>
                    <a:pt x="863135" y="1483710"/>
                  </a:cubicBezTo>
                  <a:cubicBezTo>
                    <a:pt x="979019" y="1483711"/>
                    <a:pt x="1142855" y="1435096"/>
                    <a:pt x="1142855" y="1289253"/>
                  </a:cubicBezTo>
                  <a:cubicBezTo>
                    <a:pt x="1142855" y="1143410"/>
                    <a:pt x="967031" y="1135632"/>
                    <a:pt x="857141" y="1112297"/>
                  </a:cubicBezTo>
                  <a:cubicBezTo>
                    <a:pt x="491507" y="1018957"/>
                    <a:pt x="9991" y="1018957"/>
                    <a:pt x="9991" y="538647"/>
                  </a:cubicBezTo>
                  <a:cubicBezTo>
                    <a:pt x="9991" y="114730"/>
                    <a:pt x="495504" y="0"/>
                    <a:pt x="849149" y="0"/>
                  </a:cubicBezTo>
                  <a:cubicBezTo>
                    <a:pt x="1248748" y="0"/>
                    <a:pt x="1660335" y="112785"/>
                    <a:pt x="1680316" y="567816"/>
                  </a:cubicBezTo>
                  <a:lnTo>
                    <a:pt x="1126870" y="567816"/>
                  </a:lnTo>
                  <a:cubicBezTo>
                    <a:pt x="1132861" y="508762"/>
                    <a:pt x="1106249" y="451042"/>
                    <a:pt x="1056941" y="416139"/>
                  </a:cubicBezTo>
                  <a:cubicBezTo>
                    <a:pt x="1002817" y="384359"/>
                    <a:pt x="940274" y="368803"/>
                    <a:pt x="877121" y="371414"/>
                  </a:cubicBezTo>
                  <a:cubicBezTo>
                    <a:pt x="779219" y="371414"/>
                    <a:pt x="623376" y="383081"/>
                    <a:pt x="623376" y="503645"/>
                  </a:cubicBezTo>
                  <a:cubicBezTo>
                    <a:pt x="623376" y="668934"/>
                    <a:pt x="1034962" y="698102"/>
                    <a:pt x="1306690" y="756440"/>
                  </a:cubicBezTo>
                  <a:cubicBezTo>
                    <a:pt x="1559004" y="782271"/>
                    <a:pt x="1753730" y="984205"/>
                    <a:pt x="1764232" y="1230916"/>
                  </a:cubicBezTo>
                  <a:cubicBezTo>
                    <a:pt x="1764232" y="1699558"/>
                    <a:pt x="1290706" y="1855124"/>
                    <a:pt x="883114" y="1855124"/>
                  </a:cubicBezTo>
                  <a:cubicBezTo>
                    <a:pt x="475523" y="1855124"/>
                    <a:pt x="17983" y="1717059"/>
                    <a:pt x="0" y="1227027"/>
                  </a:cubicBez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pic>
        <p:nvPicPr>
          <p:cNvPr id="23" name="Picture 22" descr="A picture containing shirt&#10;&#10;Description automatically generated">
            <a:extLst>
              <a:ext uri="{FF2B5EF4-FFF2-40B4-BE49-F238E27FC236}">
                <a16:creationId xmlns:a16="http://schemas.microsoft.com/office/drawing/2014/main" id="{021B2A40-A042-4706-8E18-B7416A11CCF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87" y="113312"/>
            <a:ext cx="1951701" cy="791127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E8965FD8-CEA1-4B44-9BC3-2866C8743F4B}"/>
              </a:ext>
            </a:extLst>
          </p:cNvPr>
          <p:cNvSpPr txBox="1"/>
          <p:nvPr userDrawn="1"/>
        </p:nvSpPr>
        <p:spPr>
          <a:xfrm>
            <a:off x="1811306" y="366549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FOR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36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4492916" y="2276871"/>
            <a:ext cx="7699084" cy="4581129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79375" y="1340768"/>
            <a:ext cx="5832649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lvl1pPr algn="l">
              <a:lnSpc>
                <a:spcPts val="3000"/>
              </a:lnSpc>
              <a:defRPr lang="en-US" sz="2800" b="1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375" y="2933539"/>
            <a:ext cx="58326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2" name="Graphic 5">
            <a:extLst>
              <a:ext uri="{FF2B5EF4-FFF2-40B4-BE49-F238E27FC236}">
                <a16:creationId xmlns:a16="http://schemas.microsoft.com/office/drawing/2014/main" id="{4B955C90-6C97-2B4A-B5D9-D5FCC02E6BEF}"/>
              </a:ext>
            </a:extLst>
          </p:cNvPr>
          <p:cNvSpPr/>
          <p:nvPr userDrawn="1"/>
        </p:nvSpPr>
        <p:spPr>
          <a:xfrm>
            <a:off x="6716638" y="116632"/>
            <a:ext cx="5428034" cy="6686708"/>
          </a:xfrm>
          <a:custGeom>
            <a:avLst/>
            <a:gdLst>
              <a:gd name="connsiteX0" fmla="*/ 346422 w 342900"/>
              <a:gd name="connsiteY0" fmla="*/ 30508 h 422413"/>
              <a:gd name="connsiteX1" fmla="*/ 346422 w 342900"/>
              <a:gd name="connsiteY1" fmla="*/ 0 h 422413"/>
              <a:gd name="connsiteX2" fmla="*/ 346422 w 342900"/>
              <a:gd name="connsiteY2" fmla="*/ 0 h 422413"/>
              <a:gd name="connsiteX3" fmla="*/ 240957 w 342900"/>
              <a:gd name="connsiteY3" fmla="*/ 147375 h 422413"/>
              <a:gd name="connsiteX4" fmla="*/ 135585 w 342900"/>
              <a:gd name="connsiteY4" fmla="*/ 0 h 422413"/>
              <a:gd name="connsiteX5" fmla="*/ 0 w 342900"/>
              <a:gd name="connsiteY5" fmla="*/ 426731 h 422413"/>
              <a:gd name="connsiteX6" fmla="*/ 0 w 342900"/>
              <a:gd name="connsiteY6" fmla="*/ 426731 h 422413"/>
              <a:gd name="connsiteX7" fmla="*/ 60239 w 342900"/>
              <a:gd name="connsiteY7" fmla="*/ 426731 h 422413"/>
              <a:gd name="connsiteX8" fmla="*/ 135585 w 342900"/>
              <a:gd name="connsiteY8" fmla="*/ 30132 h 422413"/>
              <a:gd name="connsiteX9" fmla="*/ 210837 w 342900"/>
              <a:gd name="connsiteY9" fmla="*/ 396223 h 422413"/>
              <a:gd name="connsiteX10" fmla="*/ 271076 w 342900"/>
              <a:gd name="connsiteY10" fmla="*/ 396223 h 422413"/>
              <a:gd name="connsiteX11" fmla="*/ 346422 w 342900"/>
              <a:gd name="connsiteY11" fmla="*/ 30132 h 422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42900" h="422413">
                <a:moveTo>
                  <a:pt x="346422" y="30508"/>
                </a:moveTo>
                <a:lnTo>
                  <a:pt x="346422" y="0"/>
                </a:lnTo>
                <a:lnTo>
                  <a:pt x="346422" y="0"/>
                </a:lnTo>
                <a:cubicBezTo>
                  <a:pt x="303791" y="0"/>
                  <a:pt x="265887" y="57448"/>
                  <a:pt x="240957" y="147375"/>
                </a:cubicBezTo>
                <a:cubicBezTo>
                  <a:pt x="216120" y="57448"/>
                  <a:pt x="178123" y="0"/>
                  <a:pt x="135585" y="0"/>
                </a:cubicBezTo>
                <a:cubicBezTo>
                  <a:pt x="60795" y="0"/>
                  <a:pt x="0" y="191025"/>
                  <a:pt x="0" y="426731"/>
                </a:cubicBezTo>
                <a:lnTo>
                  <a:pt x="0" y="426731"/>
                </a:lnTo>
                <a:lnTo>
                  <a:pt x="60239" y="426731"/>
                </a:lnTo>
                <a:cubicBezTo>
                  <a:pt x="60239" y="207733"/>
                  <a:pt x="93973" y="30132"/>
                  <a:pt x="135585" y="30132"/>
                </a:cubicBezTo>
                <a:cubicBezTo>
                  <a:pt x="177196" y="30132"/>
                  <a:pt x="210837" y="194028"/>
                  <a:pt x="210837" y="396223"/>
                </a:cubicBezTo>
                <a:lnTo>
                  <a:pt x="271076" y="396223"/>
                </a:lnTo>
                <a:cubicBezTo>
                  <a:pt x="271076" y="194028"/>
                  <a:pt x="304810" y="30132"/>
                  <a:pt x="346422" y="30132"/>
                </a:cubicBezTo>
                <a:close/>
              </a:path>
            </a:pathLst>
          </a:custGeom>
          <a:solidFill>
            <a:srgbClr val="FFBC0D"/>
          </a:solidFill>
          <a:ln w="9268" cap="flat">
            <a:noFill/>
            <a:prstDash val="solid"/>
            <a:miter/>
          </a:ln>
        </p:spPr>
        <p:txBody>
          <a:bodyPr rtlCol="0" anchor="ctr"/>
          <a:lstStyle/>
          <a:p>
            <a:endParaRPr lang="pl-PL"/>
          </a:p>
        </p:txBody>
      </p:sp>
      <p:sp>
        <p:nvSpPr>
          <p:cNvPr id="29" name="Retângulo 43">
            <a:extLst>
              <a:ext uri="{FF2B5EF4-FFF2-40B4-BE49-F238E27FC236}">
                <a16:creationId xmlns:a16="http://schemas.microsoft.com/office/drawing/2014/main" id="{CA2C1273-AAF4-41EC-9517-92F8384E9B16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3CD77230-E123-4C70-9789-C04F27A7CC92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© Capgemini 2021. All rights reserved  |</a:t>
            </a:r>
          </a:p>
        </p:txBody>
      </p:sp>
      <p:grpSp>
        <p:nvGrpSpPr>
          <p:cNvPr id="31" name="Graphic 8">
            <a:extLst>
              <a:ext uri="{FF2B5EF4-FFF2-40B4-BE49-F238E27FC236}">
                <a16:creationId xmlns:a16="http://schemas.microsoft.com/office/drawing/2014/main" id="{D4872348-4F37-47EB-AE18-BFF2F19C0BE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89689" y="377370"/>
            <a:ext cx="1547154" cy="184040"/>
            <a:chOff x="5664200" y="1340768"/>
            <a:chExt cx="17981972" cy="2139032"/>
          </a:xfrm>
          <a:solidFill>
            <a:srgbClr val="000000"/>
          </a:solidFill>
        </p:grpSpPr>
        <p:sp>
          <p:nvSpPr>
            <p:cNvPr id="33" name="Freeform 27">
              <a:extLst>
                <a:ext uri="{FF2B5EF4-FFF2-40B4-BE49-F238E27FC236}">
                  <a16:creationId xmlns:a16="http://schemas.microsoft.com/office/drawing/2014/main" id="{93A14133-F80E-4B9C-876C-8C8ABAE53826}"/>
                </a:ext>
              </a:extLst>
            </p:cNvPr>
            <p:cNvSpPr/>
            <p:nvPr/>
          </p:nvSpPr>
          <p:spPr>
            <a:xfrm>
              <a:off x="8644870" y="1684010"/>
              <a:ext cx="1798197" cy="1750117"/>
            </a:xfrm>
            <a:custGeom>
              <a:avLst/>
              <a:gdLst>
                <a:gd name="connsiteX0" fmla="*/ 1281057 w 1798197"/>
                <a:gd name="connsiteY0" fmla="*/ 693217 h 1750117"/>
                <a:gd name="connsiteX1" fmla="*/ 987352 w 1798197"/>
                <a:gd name="connsiteY1" fmla="*/ 434588 h 1750117"/>
                <a:gd name="connsiteX2" fmla="*/ 601738 w 1798197"/>
                <a:gd name="connsiteY2" fmla="*/ 951845 h 1750117"/>
                <a:gd name="connsiteX3" fmla="*/ 957381 w 1798197"/>
                <a:gd name="connsiteY3" fmla="*/ 1406876 h 1750117"/>
                <a:gd name="connsiteX4" fmla="*/ 1298555 w 1798197"/>
                <a:gd name="connsiteY4" fmla="*/ 1122384 h 1750117"/>
                <a:gd name="connsiteX5" fmla="*/ 1299039 w 1798197"/>
                <a:gd name="connsiteY5" fmla="*/ 1115189 h 1750117"/>
                <a:gd name="connsiteX6" fmla="*/ 1880456 w 1798197"/>
                <a:gd name="connsiteY6" fmla="*/ 1115189 h 1750117"/>
                <a:gd name="connsiteX7" fmla="*/ 959379 w 1798197"/>
                <a:gd name="connsiteY7" fmla="*/ 1854128 h 1750117"/>
                <a:gd name="connsiteX8" fmla="*/ 3708 w 1798197"/>
                <a:gd name="connsiteY8" fmla="*/ 1029520 h 1750117"/>
                <a:gd name="connsiteX9" fmla="*/ 2339 w 1798197"/>
                <a:gd name="connsiteY9" fmla="*/ 955734 h 1750117"/>
                <a:gd name="connsiteX10" fmla="*/ 852209 w 1798197"/>
                <a:gd name="connsiteY10" fmla="*/ 2239 h 1750117"/>
                <a:gd name="connsiteX11" fmla="*/ 959379 w 1798197"/>
                <a:gd name="connsiteY11" fmla="*/ 948 h 1750117"/>
                <a:gd name="connsiteX12" fmla="*/ 1862474 w 1798197"/>
                <a:gd name="connsiteY12" fmla="*/ 693217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8197" h="1750117">
                  <a:moveTo>
                    <a:pt x="1281057" y="693217"/>
                  </a:moveTo>
                  <a:cubicBezTo>
                    <a:pt x="1272452" y="543270"/>
                    <a:pt x="1141507" y="427964"/>
                    <a:pt x="987352" y="434588"/>
                  </a:cubicBezTo>
                  <a:cubicBezTo>
                    <a:pt x="653686" y="434588"/>
                    <a:pt x="601738" y="708773"/>
                    <a:pt x="601738" y="951845"/>
                  </a:cubicBezTo>
                  <a:cubicBezTo>
                    <a:pt x="601738" y="1194917"/>
                    <a:pt x="703636" y="1406876"/>
                    <a:pt x="957381" y="1406876"/>
                  </a:cubicBezTo>
                  <a:cubicBezTo>
                    <a:pt x="1132312" y="1420009"/>
                    <a:pt x="1285061" y="1292638"/>
                    <a:pt x="1298555" y="1122384"/>
                  </a:cubicBezTo>
                  <a:cubicBezTo>
                    <a:pt x="1298745" y="1119988"/>
                    <a:pt x="1298906" y="1117589"/>
                    <a:pt x="1299039" y="1115189"/>
                  </a:cubicBezTo>
                  <a:lnTo>
                    <a:pt x="1880456" y="1115189"/>
                  </a:lnTo>
                  <a:cubicBezTo>
                    <a:pt x="1826510" y="1583832"/>
                    <a:pt x="1446891" y="1854128"/>
                    <a:pt x="959379" y="1854128"/>
                  </a:cubicBezTo>
                  <a:cubicBezTo>
                    <a:pt x="461513" y="1883264"/>
                    <a:pt x="33645" y="1514074"/>
                    <a:pt x="3708" y="1029520"/>
                  </a:cubicBezTo>
                  <a:cubicBezTo>
                    <a:pt x="2191" y="1004954"/>
                    <a:pt x="1734" y="980337"/>
                    <a:pt x="2339" y="955734"/>
                  </a:cubicBezTo>
                  <a:cubicBezTo>
                    <a:pt x="-33510" y="464023"/>
                    <a:pt x="346990" y="37129"/>
                    <a:pt x="852209" y="2239"/>
                  </a:cubicBezTo>
                  <a:cubicBezTo>
                    <a:pt x="887876" y="-225"/>
                    <a:pt x="923660" y="-655"/>
                    <a:pt x="959379" y="948"/>
                  </a:cubicBezTo>
                  <a:cubicBezTo>
                    <a:pt x="1414923" y="948"/>
                    <a:pt x="1814522" y="240131"/>
                    <a:pt x="1862474" y="693217"/>
                  </a:cubicBez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4" name="Freeform 28">
              <a:extLst>
                <a:ext uri="{FF2B5EF4-FFF2-40B4-BE49-F238E27FC236}">
                  <a16:creationId xmlns:a16="http://schemas.microsoft.com/office/drawing/2014/main" id="{D53C7957-58D5-4F0A-B521-A554EE7F7BB7}"/>
                </a:ext>
              </a:extLst>
            </p:cNvPr>
            <p:cNvSpPr/>
            <p:nvPr/>
          </p:nvSpPr>
          <p:spPr>
            <a:xfrm>
              <a:off x="14874966" y="1682397"/>
              <a:ext cx="1798197" cy="1750117"/>
            </a:xfrm>
            <a:custGeom>
              <a:avLst/>
              <a:gdLst>
                <a:gd name="connsiteX0" fmla="*/ 9991 w 1798197"/>
                <a:gd name="connsiteY0" fmla="*/ 47285 h 1750117"/>
                <a:gd name="connsiteX1" fmla="*/ 589409 w 1798197"/>
                <a:gd name="connsiteY1" fmla="*/ 47285 h 1750117"/>
                <a:gd name="connsiteX2" fmla="*/ 589409 w 1798197"/>
                <a:gd name="connsiteY2" fmla="*/ 300080 h 1750117"/>
                <a:gd name="connsiteX3" fmla="*/ 589409 w 1798197"/>
                <a:gd name="connsiteY3" fmla="*/ 300080 h 1750117"/>
                <a:gd name="connsiteX4" fmla="*/ 1140856 w 1798197"/>
                <a:gd name="connsiteY4" fmla="*/ 616 h 1750117"/>
                <a:gd name="connsiteX5" fmla="*/ 1822174 w 1798197"/>
                <a:gd name="connsiteY5" fmla="*/ 679272 h 1750117"/>
                <a:gd name="connsiteX6" fmla="*/ 1822174 w 1798197"/>
                <a:gd name="connsiteY6" fmla="*/ 1797403 h 1750117"/>
                <a:gd name="connsiteX7" fmla="*/ 1222775 w 1798197"/>
                <a:gd name="connsiteY7" fmla="*/ 1797403 h 1750117"/>
                <a:gd name="connsiteX8" fmla="*/ 1222775 w 1798197"/>
                <a:gd name="connsiteY8" fmla="*/ 957346 h 1750117"/>
                <a:gd name="connsiteX9" fmla="*/ 923075 w 1798197"/>
                <a:gd name="connsiteY9" fmla="*/ 473147 h 1750117"/>
                <a:gd name="connsiteX10" fmla="*/ 599399 w 1798197"/>
                <a:gd name="connsiteY10" fmla="*/ 895120 h 1750117"/>
                <a:gd name="connsiteX11" fmla="*/ 599399 w 1798197"/>
                <a:gd name="connsiteY11" fmla="*/ 1797403 h 1750117"/>
                <a:gd name="connsiteX12" fmla="*/ 0 w 1798197"/>
                <a:gd name="connsiteY12" fmla="*/ 1797403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8197" h="1750117">
                  <a:moveTo>
                    <a:pt x="9991" y="47285"/>
                  </a:moveTo>
                  <a:lnTo>
                    <a:pt x="589409" y="47285"/>
                  </a:lnTo>
                  <a:lnTo>
                    <a:pt x="589409" y="300080"/>
                  </a:lnTo>
                  <a:lnTo>
                    <a:pt x="589409" y="300080"/>
                  </a:lnTo>
                  <a:cubicBezTo>
                    <a:pt x="699916" y="106473"/>
                    <a:pt x="913537" y="-9534"/>
                    <a:pt x="1140856" y="616"/>
                  </a:cubicBezTo>
                  <a:cubicBezTo>
                    <a:pt x="1740256" y="616"/>
                    <a:pt x="1822174" y="426477"/>
                    <a:pt x="1822174" y="679272"/>
                  </a:cubicBezTo>
                  <a:lnTo>
                    <a:pt x="1822174" y="1797403"/>
                  </a:lnTo>
                  <a:lnTo>
                    <a:pt x="1222775" y="1797403"/>
                  </a:lnTo>
                  <a:lnTo>
                    <a:pt x="1222775" y="957346"/>
                  </a:lnTo>
                  <a:cubicBezTo>
                    <a:pt x="1222775" y="718164"/>
                    <a:pt x="1234762" y="473147"/>
                    <a:pt x="923075" y="473147"/>
                  </a:cubicBezTo>
                  <a:cubicBezTo>
                    <a:pt x="723275" y="473147"/>
                    <a:pt x="599399" y="638436"/>
                    <a:pt x="599399" y="895120"/>
                  </a:cubicBezTo>
                  <a:lnTo>
                    <a:pt x="599399" y="1797403"/>
                  </a:lnTo>
                  <a:lnTo>
                    <a:pt x="0" y="1797403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5" name="Freeform 29">
              <a:extLst>
                <a:ext uri="{FF2B5EF4-FFF2-40B4-BE49-F238E27FC236}">
                  <a16:creationId xmlns:a16="http://schemas.microsoft.com/office/drawing/2014/main" id="{B28A2AC2-EAB1-4E08-9475-55954D81CEB0}"/>
                </a:ext>
              </a:extLst>
            </p:cNvPr>
            <p:cNvSpPr/>
            <p:nvPr/>
          </p:nvSpPr>
          <p:spPr>
            <a:xfrm>
              <a:off x="16836998" y="1682369"/>
              <a:ext cx="1798197" cy="1750117"/>
            </a:xfrm>
            <a:custGeom>
              <a:avLst/>
              <a:gdLst>
                <a:gd name="connsiteX0" fmla="*/ 67932 w 1798197"/>
                <a:gd name="connsiteY0" fmla="*/ 591795 h 1750117"/>
                <a:gd name="connsiteX1" fmla="*/ 353646 w 1798197"/>
                <a:gd name="connsiteY1" fmla="*/ 123152 h 1750117"/>
                <a:gd name="connsiteX2" fmla="*/ 935063 w 1798197"/>
                <a:gd name="connsiteY2" fmla="*/ 644 h 1750117"/>
                <a:gd name="connsiteX3" fmla="*/ 1786210 w 1798197"/>
                <a:gd name="connsiteY3" fmla="*/ 584016 h 1750117"/>
                <a:gd name="connsiteX4" fmla="*/ 1786210 w 1798197"/>
                <a:gd name="connsiteY4" fmla="*/ 1356012 h 1750117"/>
                <a:gd name="connsiteX5" fmla="*/ 1858138 w 1798197"/>
                <a:gd name="connsiteY5" fmla="*/ 1797431 h 1750117"/>
                <a:gd name="connsiteX6" fmla="*/ 1258739 w 1798197"/>
                <a:gd name="connsiteY6" fmla="*/ 1797431 h 1750117"/>
                <a:gd name="connsiteX7" fmla="*/ 1222775 w 1798197"/>
                <a:gd name="connsiteY7" fmla="*/ 1632142 h 1750117"/>
                <a:gd name="connsiteX8" fmla="*/ 623376 w 1798197"/>
                <a:gd name="connsiteY8" fmla="*/ 1847990 h 1750117"/>
                <a:gd name="connsiteX9" fmla="*/ 0 w 1798197"/>
                <a:gd name="connsiteY9" fmla="*/ 1317121 h 1750117"/>
                <a:gd name="connsiteX10" fmla="*/ 1062935 w 1798197"/>
                <a:gd name="connsiteY10" fmla="*/ 710414 h 1750117"/>
                <a:gd name="connsiteX11" fmla="*/ 1222775 w 1798197"/>
                <a:gd name="connsiteY11" fmla="*/ 547069 h 1750117"/>
                <a:gd name="connsiteX12" fmla="*/ 933065 w 1798197"/>
                <a:gd name="connsiteY12" fmla="*/ 366224 h 1750117"/>
                <a:gd name="connsiteX13" fmla="*/ 633365 w 1798197"/>
                <a:gd name="connsiteY13" fmla="*/ 584016 h 1750117"/>
                <a:gd name="connsiteX14" fmla="*/ 843155 w 1798197"/>
                <a:gd name="connsiteY14" fmla="*/ 1499911 h 1750117"/>
                <a:gd name="connsiteX15" fmla="*/ 1208789 w 1798197"/>
                <a:gd name="connsiteY15" fmla="*/ 984599 h 1750117"/>
                <a:gd name="connsiteX16" fmla="*/ 839160 w 1798197"/>
                <a:gd name="connsiteY16" fmla="*/ 1077938 h 1750117"/>
                <a:gd name="connsiteX17" fmla="*/ 593405 w 1798197"/>
                <a:gd name="connsiteY17" fmla="*/ 1301564 h 1750117"/>
                <a:gd name="connsiteX18" fmla="*/ 843155 w 1798197"/>
                <a:gd name="connsiteY18" fmla="*/ 1496022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98197" h="1750117">
                  <a:moveTo>
                    <a:pt x="67932" y="591795"/>
                  </a:moveTo>
                  <a:cubicBezTo>
                    <a:pt x="68543" y="396642"/>
                    <a:pt x="177947" y="217193"/>
                    <a:pt x="353646" y="123152"/>
                  </a:cubicBezTo>
                  <a:cubicBezTo>
                    <a:pt x="534107" y="36279"/>
                    <a:pt x="733842" y="-5806"/>
                    <a:pt x="935063" y="644"/>
                  </a:cubicBezTo>
                  <a:cubicBezTo>
                    <a:pt x="1366630" y="644"/>
                    <a:pt x="1786210" y="92039"/>
                    <a:pt x="1786210" y="584016"/>
                  </a:cubicBezTo>
                  <a:lnTo>
                    <a:pt x="1786210" y="1356012"/>
                  </a:lnTo>
                  <a:cubicBezTo>
                    <a:pt x="1775222" y="1506568"/>
                    <a:pt x="1799827" y="1657572"/>
                    <a:pt x="1858138" y="1797431"/>
                  </a:cubicBezTo>
                  <a:lnTo>
                    <a:pt x="1258739" y="1797431"/>
                  </a:lnTo>
                  <a:cubicBezTo>
                    <a:pt x="1239900" y="1743960"/>
                    <a:pt x="1227823" y="1688455"/>
                    <a:pt x="1222775" y="1632142"/>
                  </a:cubicBezTo>
                  <a:cubicBezTo>
                    <a:pt x="1060166" y="1778408"/>
                    <a:pt x="844642" y="1856020"/>
                    <a:pt x="623376" y="1847990"/>
                  </a:cubicBezTo>
                  <a:cubicBezTo>
                    <a:pt x="273726" y="1847990"/>
                    <a:pt x="0" y="1678812"/>
                    <a:pt x="0" y="1317121"/>
                  </a:cubicBezTo>
                  <a:cubicBezTo>
                    <a:pt x="0" y="747361"/>
                    <a:pt x="647351" y="790141"/>
                    <a:pt x="1062935" y="710414"/>
                  </a:cubicBezTo>
                  <a:cubicBezTo>
                    <a:pt x="1164833" y="689023"/>
                    <a:pt x="1222775" y="655966"/>
                    <a:pt x="1222775" y="547069"/>
                  </a:cubicBezTo>
                  <a:cubicBezTo>
                    <a:pt x="1222775" y="438173"/>
                    <a:pt x="1056941" y="366224"/>
                    <a:pt x="933065" y="366224"/>
                  </a:cubicBezTo>
                  <a:cubicBezTo>
                    <a:pt x="788695" y="346522"/>
                    <a:pt x="654972" y="443699"/>
                    <a:pt x="633365" y="584016"/>
                  </a:cubicBezTo>
                  <a:close/>
                  <a:moveTo>
                    <a:pt x="843155" y="1499911"/>
                  </a:moveTo>
                  <a:cubicBezTo>
                    <a:pt x="1126871" y="1499911"/>
                    <a:pt x="1222775" y="1346290"/>
                    <a:pt x="1208789" y="984599"/>
                  </a:cubicBezTo>
                  <a:cubicBezTo>
                    <a:pt x="1089639" y="1029330"/>
                    <a:pt x="965624" y="1060647"/>
                    <a:pt x="839160" y="1077938"/>
                  </a:cubicBezTo>
                  <a:cubicBezTo>
                    <a:pt x="705293" y="1109052"/>
                    <a:pt x="593405" y="1163500"/>
                    <a:pt x="593405" y="1301564"/>
                  </a:cubicBezTo>
                  <a:cubicBezTo>
                    <a:pt x="593405" y="1439629"/>
                    <a:pt x="709290" y="1496022"/>
                    <a:pt x="843155" y="1496022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6" name="Freeform 30">
              <a:extLst>
                <a:ext uri="{FF2B5EF4-FFF2-40B4-BE49-F238E27FC236}">
                  <a16:creationId xmlns:a16="http://schemas.microsoft.com/office/drawing/2014/main" id="{0EA4B226-C3DF-43C7-8C73-0695564CB067}"/>
                </a:ext>
              </a:extLst>
            </p:cNvPr>
            <p:cNvSpPr/>
            <p:nvPr/>
          </p:nvSpPr>
          <p:spPr>
            <a:xfrm>
              <a:off x="18819012" y="1344657"/>
              <a:ext cx="599399" cy="2139032"/>
            </a:xfrm>
            <a:custGeom>
              <a:avLst/>
              <a:gdLst>
                <a:gd name="connsiteX0" fmla="*/ -1 w 599399"/>
                <a:gd name="connsiteY0" fmla="*/ 0 h 2139032"/>
                <a:gd name="connsiteX1" fmla="*/ 599398 w 599399"/>
                <a:gd name="connsiteY1" fmla="*/ 0 h 2139032"/>
                <a:gd name="connsiteX2" fmla="*/ 599398 w 599399"/>
                <a:gd name="connsiteY2" fmla="*/ 2142921 h 2139032"/>
                <a:gd name="connsiteX3" fmla="*/ -1 w 599399"/>
                <a:gd name="connsiteY3" fmla="*/ 2142921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9399" h="2139032">
                  <a:moveTo>
                    <a:pt x="-1" y="0"/>
                  </a:moveTo>
                  <a:lnTo>
                    <a:pt x="599398" y="0"/>
                  </a:lnTo>
                  <a:lnTo>
                    <a:pt x="599398" y="2142921"/>
                  </a:lnTo>
                  <a:lnTo>
                    <a:pt x="-1" y="2142921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7" name="Freeform 31">
              <a:extLst>
                <a:ext uri="{FF2B5EF4-FFF2-40B4-BE49-F238E27FC236}">
                  <a16:creationId xmlns:a16="http://schemas.microsoft.com/office/drawing/2014/main" id="{578A3AFA-E69A-4C21-9072-468BA4F66F5B}"/>
                </a:ext>
              </a:extLst>
            </p:cNvPr>
            <p:cNvSpPr/>
            <p:nvPr/>
          </p:nvSpPr>
          <p:spPr>
            <a:xfrm>
              <a:off x="19550279" y="1340768"/>
              <a:ext cx="1798197" cy="2139032"/>
            </a:xfrm>
            <a:custGeom>
              <a:avLst/>
              <a:gdLst>
                <a:gd name="connsiteX0" fmla="*/ 1898097 w 1798197"/>
                <a:gd name="connsiteY0" fmla="*/ 2139032 h 2139032"/>
                <a:gd name="connsiteX1" fmla="*/ 1320676 w 1798197"/>
                <a:gd name="connsiteY1" fmla="*/ 2139032 h 2139032"/>
                <a:gd name="connsiteX2" fmla="*/ 1320676 w 1798197"/>
                <a:gd name="connsiteY2" fmla="*/ 1944575 h 2139032"/>
                <a:gd name="connsiteX3" fmla="*/ 1320676 w 1798197"/>
                <a:gd name="connsiteY3" fmla="*/ 1944575 h 2139032"/>
                <a:gd name="connsiteX4" fmla="*/ 817182 w 1798197"/>
                <a:gd name="connsiteY4" fmla="*/ 2199314 h 2139032"/>
                <a:gd name="connsiteX5" fmla="*/ 0 w 1798197"/>
                <a:gd name="connsiteY5" fmla="*/ 1227027 h 2139032"/>
                <a:gd name="connsiteX6" fmla="*/ 771227 w 1798197"/>
                <a:gd name="connsiteY6" fmla="*/ 338356 h 2139032"/>
                <a:gd name="connsiteX7" fmla="*/ 1284712 w 1798197"/>
                <a:gd name="connsiteY7" fmla="*/ 583372 h 2139032"/>
                <a:gd name="connsiteX8" fmla="*/ 1284712 w 1798197"/>
                <a:gd name="connsiteY8" fmla="*/ 583372 h 2139032"/>
                <a:gd name="connsiteX9" fmla="*/ 1284712 w 1798197"/>
                <a:gd name="connsiteY9" fmla="*/ 0 h 2139032"/>
                <a:gd name="connsiteX10" fmla="*/ 1884111 w 1798197"/>
                <a:gd name="connsiteY10" fmla="*/ 0 h 2139032"/>
                <a:gd name="connsiteX11" fmla="*/ 597401 w 1798197"/>
                <a:gd name="connsiteY11" fmla="*/ 1244528 h 2139032"/>
                <a:gd name="connsiteX12" fmla="*/ 965033 w 1798197"/>
                <a:gd name="connsiteY12" fmla="*/ 1750117 h 2139032"/>
                <a:gd name="connsiteX13" fmla="*/ 1320676 w 1798197"/>
                <a:gd name="connsiteY13" fmla="*/ 1260084 h 2139032"/>
                <a:gd name="connsiteX14" fmla="*/ 959039 w 1798197"/>
                <a:gd name="connsiteY14" fmla="*/ 777830 h 2139032"/>
                <a:gd name="connsiteX15" fmla="*/ 591407 w 1798197"/>
                <a:gd name="connsiteY15" fmla="*/ 1248417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98197" h="2139032">
                  <a:moveTo>
                    <a:pt x="1898097" y="2139032"/>
                  </a:moveTo>
                  <a:lnTo>
                    <a:pt x="1320676" y="2139032"/>
                  </a:lnTo>
                  <a:lnTo>
                    <a:pt x="1320676" y="1944575"/>
                  </a:lnTo>
                  <a:lnTo>
                    <a:pt x="1320676" y="1944575"/>
                  </a:lnTo>
                  <a:cubicBezTo>
                    <a:pt x="1209173" y="2108272"/>
                    <a:pt x="1018907" y="2204536"/>
                    <a:pt x="817182" y="2199314"/>
                  </a:cubicBezTo>
                  <a:cubicBezTo>
                    <a:pt x="241757" y="2199314"/>
                    <a:pt x="0" y="1726782"/>
                    <a:pt x="0" y="1227027"/>
                  </a:cubicBezTo>
                  <a:cubicBezTo>
                    <a:pt x="0" y="771996"/>
                    <a:pt x="251748" y="338356"/>
                    <a:pt x="771227" y="338356"/>
                  </a:cubicBezTo>
                  <a:cubicBezTo>
                    <a:pt x="973505" y="332283"/>
                    <a:pt x="1165764" y="424022"/>
                    <a:pt x="1284712" y="583372"/>
                  </a:cubicBezTo>
                  <a:lnTo>
                    <a:pt x="1284712" y="583372"/>
                  </a:lnTo>
                  <a:lnTo>
                    <a:pt x="1284712" y="0"/>
                  </a:lnTo>
                  <a:lnTo>
                    <a:pt x="1884111" y="0"/>
                  </a:lnTo>
                  <a:close/>
                  <a:moveTo>
                    <a:pt x="597401" y="1244528"/>
                  </a:moveTo>
                  <a:cubicBezTo>
                    <a:pt x="597401" y="1483710"/>
                    <a:pt x="689308" y="1750117"/>
                    <a:pt x="965033" y="1750117"/>
                  </a:cubicBezTo>
                  <a:cubicBezTo>
                    <a:pt x="1240756" y="1750117"/>
                    <a:pt x="1320676" y="1483710"/>
                    <a:pt x="1320676" y="1260084"/>
                  </a:cubicBezTo>
                  <a:cubicBezTo>
                    <a:pt x="1320676" y="1036458"/>
                    <a:pt x="1218778" y="777830"/>
                    <a:pt x="959039" y="777830"/>
                  </a:cubicBezTo>
                  <a:cubicBezTo>
                    <a:pt x="699299" y="777830"/>
                    <a:pt x="591407" y="1024791"/>
                    <a:pt x="591407" y="1248417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8" name="Freeform 32">
              <a:extLst>
                <a:ext uri="{FF2B5EF4-FFF2-40B4-BE49-F238E27FC236}">
                  <a16:creationId xmlns:a16="http://schemas.microsoft.com/office/drawing/2014/main" id="{C2E5035F-1AC2-4243-9E7A-62F1B36B0061}"/>
                </a:ext>
              </a:extLst>
            </p:cNvPr>
            <p:cNvSpPr/>
            <p:nvPr/>
          </p:nvSpPr>
          <p:spPr>
            <a:xfrm>
              <a:off x="21566257" y="1344657"/>
              <a:ext cx="399599" cy="388915"/>
            </a:xfrm>
            <a:custGeom>
              <a:avLst/>
              <a:gdLst>
                <a:gd name="connsiteX0" fmla="*/ 281718 w 399599"/>
                <a:gd name="connsiteY0" fmla="*/ 579483 h 388914"/>
                <a:gd name="connsiteX1" fmla="*/ 0 w 399599"/>
                <a:gd name="connsiteY1" fmla="*/ 579483 h 388914"/>
                <a:gd name="connsiteX2" fmla="*/ 0 w 399599"/>
                <a:gd name="connsiteY2" fmla="*/ 0 h 388914"/>
                <a:gd name="connsiteX3" fmla="*/ 561438 w 399599"/>
                <a:gd name="connsiteY3" fmla="*/ 0 h 388914"/>
                <a:gd name="connsiteX4" fmla="*/ 281718 w 399599"/>
                <a:gd name="connsiteY4" fmla="*/ 579483 h 38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599" h="388914">
                  <a:moveTo>
                    <a:pt x="281718" y="579483"/>
                  </a:moveTo>
                  <a:lnTo>
                    <a:pt x="0" y="579483"/>
                  </a:lnTo>
                  <a:lnTo>
                    <a:pt x="0" y="0"/>
                  </a:lnTo>
                  <a:lnTo>
                    <a:pt x="561438" y="0"/>
                  </a:lnTo>
                  <a:lnTo>
                    <a:pt x="281718" y="579483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9" name="Freeform 33">
              <a:extLst>
                <a:ext uri="{FF2B5EF4-FFF2-40B4-BE49-F238E27FC236}">
                  <a16:creationId xmlns:a16="http://schemas.microsoft.com/office/drawing/2014/main" id="{99C4997A-8B87-4ADA-9B76-2DA6D6E17153}"/>
                </a:ext>
              </a:extLst>
            </p:cNvPr>
            <p:cNvSpPr/>
            <p:nvPr/>
          </p:nvSpPr>
          <p:spPr>
            <a:xfrm>
              <a:off x="10659192" y="1340768"/>
              <a:ext cx="1997997" cy="2139032"/>
            </a:xfrm>
            <a:custGeom>
              <a:avLst/>
              <a:gdLst>
                <a:gd name="connsiteX0" fmla="*/ 951047 w 1997996"/>
                <a:gd name="connsiteY0" fmla="*/ 0 h 2139032"/>
                <a:gd name="connsiteX1" fmla="*/ 0 w 1997996"/>
                <a:gd name="connsiteY1" fmla="*/ 0 h 2139032"/>
                <a:gd name="connsiteX2" fmla="*/ 0 w 1997996"/>
                <a:gd name="connsiteY2" fmla="*/ 2139032 h 2139032"/>
                <a:gd name="connsiteX3" fmla="*/ 961036 w 1997996"/>
                <a:gd name="connsiteY3" fmla="*/ 2139032 h 2139032"/>
                <a:gd name="connsiteX4" fmla="*/ 2057937 w 1997996"/>
                <a:gd name="connsiteY4" fmla="*/ 1057849 h 2139032"/>
                <a:gd name="connsiteX5" fmla="*/ 951047 w 1997996"/>
                <a:gd name="connsiteY5" fmla="*/ 0 h 2139032"/>
                <a:gd name="connsiteX6" fmla="*/ 897101 w 1997996"/>
                <a:gd name="connsiteY6" fmla="*/ 1645110 h 2139032"/>
                <a:gd name="connsiteX7" fmla="*/ 629369 w 1997996"/>
                <a:gd name="connsiteY7" fmla="*/ 1645110 h 2139032"/>
                <a:gd name="connsiteX8" fmla="*/ 629369 w 1997996"/>
                <a:gd name="connsiteY8" fmla="*/ 499756 h 2139032"/>
                <a:gd name="connsiteX9" fmla="*/ 897101 w 1997996"/>
                <a:gd name="connsiteY9" fmla="*/ 499756 h 2139032"/>
                <a:gd name="connsiteX10" fmla="*/ 1400596 w 1997996"/>
                <a:gd name="connsiteY10" fmla="*/ 1063682 h 2139032"/>
                <a:gd name="connsiteX11" fmla="*/ 897101 w 1997996"/>
                <a:gd name="connsiteY11" fmla="*/ 1647055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7996" h="2139032">
                  <a:moveTo>
                    <a:pt x="951047" y="0"/>
                  </a:moveTo>
                  <a:lnTo>
                    <a:pt x="0" y="0"/>
                  </a:lnTo>
                  <a:lnTo>
                    <a:pt x="0" y="2139032"/>
                  </a:lnTo>
                  <a:lnTo>
                    <a:pt x="961036" y="2139032"/>
                  </a:lnTo>
                  <a:cubicBezTo>
                    <a:pt x="1640355" y="2139032"/>
                    <a:pt x="2057937" y="1759840"/>
                    <a:pt x="2057937" y="1057849"/>
                  </a:cubicBezTo>
                  <a:cubicBezTo>
                    <a:pt x="2047947" y="402527"/>
                    <a:pt x="1636359" y="0"/>
                    <a:pt x="951047" y="0"/>
                  </a:cubicBezTo>
                  <a:moveTo>
                    <a:pt x="897101" y="1645110"/>
                  </a:moveTo>
                  <a:lnTo>
                    <a:pt x="629369" y="1645110"/>
                  </a:lnTo>
                  <a:lnTo>
                    <a:pt x="629369" y="499756"/>
                  </a:lnTo>
                  <a:lnTo>
                    <a:pt x="897101" y="499756"/>
                  </a:lnTo>
                  <a:cubicBezTo>
                    <a:pt x="1244752" y="499756"/>
                    <a:pt x="1400596" y="723382"/>
                    <a:pt x="1400596" y="1063682"/>
                  </a:cubicBezTo>
                  <a:cubicBezTo>
                    <a:pt x="1400596" y="1438985"/>
                    <a:pt x="1274722" y="1647055"/>
                    <a:pt x="897101" y="1647055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0" name="Freeform 34">
              <a:extLst>
                <a:ext uri="{FF2B5EF4-FFF2-40B4-BE49-F238E27FC236}">
                  <a16:creationId xmlns:a16="http://schemas.microsoft.com/office/drawing/2014/main" id="{E7A4B9E8-8D4C-41E7-BA78-6F238ECB5518}"/>
                </a:ext>
              </a:extLst>
            </p:cNvPr>
            <p:cNvSpPr/>
            <p:nvPr/>
          </p:nvSpPr>
          <p:spPr>
            <a:xfrm>
              <a:off x="5664200" y="1340768"/>
              <a:ext cx="2996995" cy="2139032"/>
            </a:xfrm>
            <a:custGeom>
              <a:avLst/>
              <a:gdLst>
                <a:gd name="connsiteX0" fmla="*/ 1842153 w 2996995"/>
                <a:gd name="connsiteY0" fmla="*/ 2139032 h 2139032"/>
                <a:gd name="connsiteX1" fmla="*/ 2081913 w 2996995"/>
                <a:gd name="connsiteY1" fmla="*/ 1279530 h 2139032"/>
                <a:gd name="connsiteX2" fmla="*/ 2145849 w 2996995"/>
                <a:gd name="connsiteY2" fmla="*/ 1003400 h 2139032"/>
                <a:gd name="connsiteX3" fmla="*/ 2145849 w 2996995"/>
                <a:gd name="connsiteY3" fmla="*/ 1003400 h 2139032"/>
                <a:gd name="connsiteX4" fmla="*/ 2193801 w 2996995"/>
                <a:gd name="connsiteY4" fmla="*/ 1285364 h 2139032"/>
                <a:gd name="connsiteX5" fmla="*/ 2369624 w 2996995"/>
                <a:gd name="connsiteY5" fmla="*/ 2139032 h 2139032"/>
                <a:gd name="connsiteX6" fmla="*/ 3028963 w 2996995"/>
                <a:gd name="connsiteY6" fmla="*/ 2139032 h 2139032"/>
                <a:gd name="connsiteX7" fmla="*/ 2565428 w 2996995"/>
                <a:gd name="connsiteY7" fmla="*/ 0 h 2139032"/>
                <a:gd name="connsiteX8" fmla="*/ 1868127 w 2996995"/>
                <a:gd name="connsiteY8" fmla="*/ 0 h 2139032"/>
                <a:gd name="connsiteX9" fmla="*/ 1598398 w 2996995"/>
                <a:gd name="connsiteY9" fmla="*/ 1079239 h 2139032"/>
                <a:gd name="connsiteX10" fmla="*/ 1518478 w 2996995"/>
                <a:gd name="connsiteY10" fmla="*/ 1361202 h 2139032"/>
                <a:gd name="connsiteX11" fmla="*/ 1518478 w 2996995"/>
                <a:gd name="connsiteY11" fmla="*/ 1361202 h 2139032"/>
                <a:gd name="connsiteX12" fmla="*/ 1440556 w 2996995"/>
                <a:gd name="connsiteY12" fmla="*/ 1079239 h 2139032"/>
                <a:gd name="connsiteX13" fmla="*/ 1160836 w 2996995"/>
                <a:gd name="connsiteY13" fmla="*/ 0 h 2139032"/>
                <a:gd name="connsiteX14" fmla="*/ 461537 w 2996995"/>
                <a:gd name="connsiteY14" fmla="*/ 0 h 2139032"/>
                <a:gd name="connsiteX15" fmla="*/ 0 w 2996995"/>
                <a:gd name="connsiteY15" fmla="*/ 2139032 h 2139032"/>
                <a:gd name="connsiteX16" fmla="*/ 659339 w 2996995"/>
                <a:gd name="connsiteY16" fmla="*/ 2139032 h 2139032"/>
                <a:gd name="connsiteX17" fmla="*/ 829169 w 2996995"/>
                <a:gd name="connsiteY17" fmla="*/ 1285364 h 2139032"/>
                <a:gd name="connsiteX18" fmla="*/ 875123 w 2996995"/>
                <a:gd name="connsiteY18" fmla="*/ 1003400 h 2139032"/>
                <a:gd name="connsiteX19" fmla="*/ 875123 w 2996995"/>
                <a:gd name="connsiteY19" fmla="*/ 1003400 h 2139032"/>
                <a:gd name="connsiteX20" fmla="*/ 939059 w 2996995"/>
                <a:gd name="connsiteY20" fmla="*/ 1279530 h 2139032"/>
                <a:gd name="connsiteX21" fmla="*/ 1186810 w 2996995"/>
                <a:gd name="connsiteY21" fmla="*/ 2139032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96995" h="2139032">
                  <a:moveTo>
                    <a:pt x="1842153" y="2139032"/>
                  </a:moveTo>
                  <a:lnTo>
                    <a:pt x="2081913" y="1279530"/>
                  </a:lnTo>
                  <a:cubicBezTo>
                    <a:pt x="2107887" y="1178412"/>
                    <a:pt x="2135859" y="1061738"/>
                    <a:pt x="2145849" y="1003400"/>
                  </a:cubicBezTo>
                  <a:lnTo>
                    <a:pt x="2145849" y="1003400"/>
                  </a:lnTo>
                  <a:cubicBezTo>
                    <a:pt x="2145849" y="1048126"/>
                    <a:pt x="2169825" y="1176468"/>
                    <a:pt x="2193801" y="1285364"/>
                  </a:cubicBezTo>
                  <a:lnTo>
                    <a:pt x="2369624" y="2139032"/>
                  </a:lnTo>
                  <a:lnTo>
                    <a:pt x="3028963" y="2139032"/>
                  </a:lnTo>
                  <a:lnTo>
                    <a:pt x="2565428" y="0"/>
                  </a:lnTo>
                  <a:lnTo>
                    <a:pt x="1868127" y="0"/>
                  </a:lnTo>
                  <a:lnTo>
                    <a:pt x="1598398" y="1079239"/>
                  </a:lnTo>
                  <a:cubicBezTo>
                    <a:pt x="1564432" y="1166745"/>
                    <a:pt x="1534462" y="1297031"/>
                    <a:pt x="1518478" y="1361202"/>
                  </a:cubicBezTo>
                  <a:lnTo>
                    <a:pt x="1518478" y="1361202"/>
                  </a:lnTo>
                  <a:cubicBezTo>
                    <a:pt x="1492504" y="1297031"/>
                    <a:pt x="1464532" y="1166745"/>
                    <a:pt x="1440556" y="1079239"/>
                  </a:cubicBezTo>
                  <a:lnTo>
                    <a:pt x="1160836" y="0"/>
                  </a:lnTo>
                  <a:lnTo>
                    <a:pt x="461537" y="0"/>
                  </a:lnTo>
                  <a:lnTo>
                    <a:pt x="0" y="2139032"/>
                  </a:lnTo>
                  <a:lnTo>
                    <a:pt x="659339" y="2139032"/>
                  </a:lnTo>
                  <a:lnTo>
                    <a:pt x="829169" y="1285364"/>
                  </a:lnTo>
                  <a:cubicBezTo>
                    <a:pt x="851147" y="1176468"/>
                    <a:pt x="869129" y="1048126"/>
                    <a:pt x="875123" y="1003400"/>
                  </a:cubicBezTo>
                  <a:lnTo>
                    <a:pt x="875123" y="1003400"/>
                  </a:lnTo>
                  <a:cubicBezTo>
                    <a:pt x="875123" y="1061738"/>
                    <a:pt x="911087" y="1178412"/>
                    <a:pt x="939059" y="1279530"/>
                  </a:cubicBezTo>
                  <a:lnTo>
                    <a:pt x="1186810" y="2139032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1" name="Freeform 35">
              <a:extLst>
                <a:ext uri="{FF2B5EF4-FFF2-40B4-BE49-F238E27FC236}">
                  <a16:creationId xmlns:a16="http://schemas.microsoft.com/office/drawing/2014/main" id="{02E6D3A0-07A9-4FEF-B409-B7B1E7D18C0D}"/>
                </a:ext>
              </a:extLst>
            </p:cNvPr>
            <p:cNvSpPr/>
            <p:nvPr/>
          </p:nvSpPr>
          <p:spPr>
            <a:xfrm>
              <a:off x="12830059" y="1683552"/>
              <a:ext cx="1798197" cy="1750117"/>
            </a:xfrm>
            <a:custGeom>
              <a:avLst/>
              <a:gdLst>
                <a:gd name="connsiteX0" fmla="*/ 963990 w 1798197"/>
                <a:gd name="connsiteY0" fmla="*/ 1406 h 1750117"/>
                <a:gd name="connsiteX1" fmla="*/ 1436 w 1798197"/>
                <a:gd name="connsiteY1" fmla="*/ 839168 h 1750117"/>
                <a:gd name="connsiteX2" fmla="*/ 956 w 1798197"/>
                <a:gd name="connsiteY2" fmla="*/ 928968 h 1750117"/>
                <a:gd name="connsiteX3" fmla="*/ 871723 w 1798197"/>
                <a:gd name="connsiteY3" fmla="*/ 1856998 h 1750117"/>
                <a:gd name="connsiteX4" fmla="*/ 963991 w 1798197"/>
                <a:gd name="connsiteY4" fmla="*/ 1856530 h 1750117"/>
                <a:gd name="connsiteX5" fmla="*/ 1924651 w 1798197"/>
                <a:gd name="connsiteY5" fmla="*/ 1016712 h 1750117"/>
                <a:gd name="connsiteX6" fmla="*/ 1925028 w 1798197"/>
                <a:gd name="connsiteY6" fmla="*/ 928968 h 1750117"/>
                <a:gd name="connsiteX7" fmla="*/ 1054145 w 1798197"/>
                <a:gd name="connsiteY7" fmla="*/ 1039 h 1750117"/>
                <a:gd name="connsiteX8" fmla="*/ 963991 w 1798197"/>
                <a:gd name="connsiteY8" fmla="*/ 1406 h 1750117"/>
                <a:gd name="connsiteX9" fmla="*/ 963990 w 1798197"/>
                <a:gd name="connsiteY9" fmla="*/ 1419001 h 1750117"/>
                <a:gd name="connsiteX10" fmla="*/ 600355 w 1798197"/>
                <a:gd name="connsiteY10" fmla="*/ 928968 h 1750117"/>
                <a:gd name="connsiteX11" fmla="*/ 963990 w 1798197"/>
                <a:gd name="connsiteY11" fmla="*/ 435046 h 1750117"/>
                <a:gd name="connsiteX12" fmla="*/ 1325628 w 1798197"/>
                <a:gd name="connsiteY12" fmla="*/ 928968 h 1750117"/>
                <a:gd name="connsiteX13" fmla="*/ 963990 w 1798197"/>
                <a:gd name="connsiteY13" fmla="*/ 1419001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98197" h="1750117">
                  <a:moveTo>
                    <a:pt x="963990" y="1406"/>
                  </a:moveTo>
                  <a:cubicBezTo>
                    <a:pt x="460491" y="-25947"/>
                    <a:pt x="29541" y="349132"/>
                    <a:pt x="1436" y="839168"/>
                  </a:cubicBezTo>
                  <a:cubicBezTo>
                    <a:pt x="-278" y="869074"/>
                    <a:pt x="-439" y="899046"/>
                    <a:pt x="956" y="928968"/>
                  </a:cubicBezTo>
                  <a:cubicBezTo>
                    <a:pt x="-21898" y="1419263"/>
                    <a:pt x="367958" y="1834756"/>
                    <a:pt x="871723" y="1856998"/>
                  </a:cubicBezTo>
                  <a:cubicBezTo>
                    <a:pt x="902467" y="1858356"/>
                    <a:pt x="933262" y="1858199"/>
                    <a:pt x="963991" y="1856530"/>
                  </a:cubicBezTo>
                  <a:cubicBezTo>
                    <a:pt x="1467550" y="1882807"/>
                    <a:pt x="1897653" y="1506807"/>
                    <a:pt x="1924651" y="1016712"/>
                  </a:cubicBezTo>
                  <a:cubicBezTo>
                    <a:pt x="1926261" y="987488"/>
                    <a:pt x="1926387" y="958204"/>
                    <a:pt x="1925028" y="928968"/>
                  </a:cubicBezTo>
                  <a:cubicBezTo>
                    <a:pt x="1947820" y="438670"/>
                    <a:pt x="1557913" y="23223"/>
                    <a:pt x="1054145" y="1039"/>
                  </a:cubicBezTo>
                  <a:cubicBezTo>
                    <a:pt x="1024106" y="-283"/>
                    <a:pt x="994018" y="-161"/>
                    <a:pt x="963991" y="1406"/>
                  </a:cubicBezTo>
                  <a:moveTo>
                    <a:pt x="963990" y="1419001"/>
                  </a:moveTo>
                  <a:cubicBezTo>
                    <a:pt x="704251" y="1419001"/>
                    <a:pt x="600355" y="1208987"/>
                    <a:pt x="600355" y="928968"/>
                  </a:cubicBezTo>
                  <a:cubicBezTo>
                    <a:pt x="600355" y="648949"/>
                    <a:pt x="704251" y="435046"/>
                    <a:pt x="963990" y="435046"/>
                  </a:cubicBezTo>
                  <a:cubicBezTo>
                    <a:pt x="1223730" y="435046"/>
                    <a:pt x="1325628" y="648949"/>
                    <a:pt x="1325628" y="928968"/>
                  </a:cubicBezTo>
                  <a:cubicBezTo>
                    <a:pt x="1325628" y="1208987"/>
                    <a:pt x="1225728" y="1419001"/>
                    <a:pt x="963990" y="1419001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2" name="Freeform 36">
              <a:extLst>
                <a:ext uri="{FF2B5EF4-FFF2-40B4-BE49-F238E27FC236}">
                  <a16:creationId xmlns:a16="http://schemas.microsoft.com/office/drawing/2014/main" id="{F7F6511D-DAD5-44FF-9CE6-2EFFC85D8971}"/>
                </a:ext>
              </a:extLst>
            </p:cNvPr>
            <p:cNvSpPr/>
            <p:nvPr/>
          </p:nvSpPr>
          <p:spPr>
            <a:xfrm>
              <a:off x="21989833" y="1683013"/>
              <a:ext cx="1598398" cy="1750117"/>
            </a:xfrm>
            <a:custGeom>
              <a:avLst/>
              <a:gdLst>
                <a:gd name="connsiteX0" fmla="*/ 565434 w 1598397"/>
                <a:gd name="connsiteY0" fmla="*/ 1227027 h 1750117"/>
                <a:gd name="connsiteX1" fmla="*/ 663335 w 1598397"/>
                <a:gd name="connsiteY1" fmla="*/ 1421484 h 1750117"/>
                <a:gd name="connsiteX2" fmla="*/ 863135 w 1598397"/>
                <a:gd name="connsiteY2" fmla="*/ 1483710 h 1750117"/>
                <a:gd name="connsiteX3" fmla="*/ 1142855 w 1598397"/>
                <a:gd name="connsiteY3" fmla="*/ 1289253 h 1750117"/>
                <a:gd name="connsiteX4" fmla="*/ 857141 w 1598397"/>
                <a:gd name="connsiteY4" fmla="*/ 1112297 h 1750117"/>
                <a:gd name="connsiteX5" fmla="*/ 9991 w 1598397"/>
                <a:gd name="connsiteY5" fmla="*/ 538647 h 1750117"/>
                <a:gd name="connsiteX6" fmla="*/ 849149 w 1598397"/>
                <a:gd name="connsiteY6" fmla="*/ 0 h 1750117"/>
                <a:gd name="connsiteX7" fmla="*/ 1680316 w 1598397"/>
                <a:gd name="connsiteY7" fmla="*/ 567816 h 1750117"/>
                <a:gd name="connsiteX8" fmla="*/ 1126870 w 1598397"/>
                <a:gd name="connsiteY8" fmla="*/ 567816 h 1750117"/>
                <a:gd name="connsiteX9" fmla="*/ 1056941 w 1598397"/>
                <a:gd name="connsiteY9" fmla="*/ 416139 h 1750117"/>
                <a:gd name="connsiteX10" fmla="*/ 877121 w 1598397"/>
                <a:gd name="connsiteY10" fmla="*/ 371414 h 1750117"/>
                <a:gd name="connsiteX11" fmla="*/ 623376 w 1598397"/>
                <a:gd name="connsiteY11" fmla="*/ 503645 h 1750117"/>
                <a:gd name="connsiteX12" fmla="*/ 1306690 w 1598397"/>
                <a:gd name="connsiteY12" fmla="*/ 756440 h 1750117"/>
                <a:gd name="connsiteX13" fmla="*/ 1764232 w 1598397"/>
                <a:gd name="connsiteY13" fmla="*/ 1230916 h 1750117"/>
                <a:gd name="connsiteX14" fmla="*/ 883114 w 1598397"/>
                <a:gd name="connsiteY14" fmla="*/ 1855124 h 1750117"/>
                <a:gd name="connsiteX15" fmla="*/ 0 w 1598397"/>
                <a:gd name="connsiteY15" fmla="*/ 1227027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98397" h="1750117">
                  <a:moveTo>
                    <a:pt x="565434" y="1227027"/>
                  </a:moveTo>
                  <a:cubicBezTo>
                    <a:pt x="562613" y="1303699"/>
                    <a:pt x="599352" y="1376670"/>
                    <a:pt x="663335" y="1421484"/>
                  </a:cubicBezTo>
                  <a:cubicBezTo>
                    <a:pt x="721521" y="1462225"/>
                    <a:pt x="791457" y="1484006"/>
                    <a:pt x="863135" y="1483710"/>
                  </a:cubicBezTo>
                  <a:cubicBezTo>
                    <a:pt x="979019" y="1483711"/>
                    <a:pt x="1142855" y="1435096"/>
                    <a:pt x="1142855" y="1289253"/>
                  </a:cubicBezTo>
                  <a:cubicBezTo>
                    <a:pt x="1142855" y="1143410"/>
                    <a:pt x="967031" y="1135632"/>
                    <a:pt x="857141" y="1112297"/>
                  </a:cubicBezTo>
                  <a:cubicBezTo>
                    <a:pt x="491507" y="1018957"/>
                    <a:pt x="9991" y="1018957"/>
                    <a:pt x="9991" y="538647"/>
                  </a:cubicBezTo>
                  <a:cubicBezTo>
                    <a:pt x="9991" y="114730"/>
                    <a:pt x="495504" y="0"/>
                    <a:pt x="849149" y="0"/>
                  </a:cubicBezTo>
                  <a:cubicBezTo>
                    <a:pt x="1248748" y="0"/>
                    <a:pt x="1660335" y="112785"/>
                    <a:pt x="1680316" y="567816"/>
                  </a:cubicBezTo>
                  <a:lnTo>
                    <a:pt x="1126870" y="567816"/>
                  </a:lnTo>
                  <a:cubicBezTo>
                    <a:pt x="1132861" y="508762"/>
                    <a:pt x="1106249" y="451042"/>
                    <a:pt x="1056941" y="416139"/>
                  </a:cubicBezTo>
                  <a:cubicBezTo>
                    <a:pt x="1002817" y="384359"/>
                    <a:pt x="940274" y="368803"/>
                    <a:pt x="877121" y="371414"/>
                  </a:cubicBezTo>
                  <a:cubicBezTo>
                    <a:pt x="779219" y="371414"/>
                    <a:pt x="623376" y="383081"/>
                    <a:pt x="623376" y="503645"/>
                  </a:cubicBezTo>
                  <a:cubicBezTo>
                    <a:pt x="623376" y="668934"/>
                    <a:pt x="1034962" y="698102"/>
                    <a:pt x="1306690" y="756440"/>
                  </a:cubicBezTo>
                  <a:cubicBezTo>
                    <a:pt x="1559004" y="782271"/>
                    <a:pt x="1753730" y="984205"/>
                    <a:pt x="1764232" y="1230916"/>
                  </a:cubicBezTo>
                  <a:cubicBezTo>
                    <a:pt x="1764232" y="1699558"/>
                    <a:pt x="1290706" y="1855124"/>
                    <a:pt x="883114" y="1855124"/>
                  </a:cubicBezTo>
                  <a:cubicBezTo>
                    <a:pt x="475523" y="1855124"/>
                    <a:pt x="17983" y="1717059"/>
                    <a:pt x="0" y="1227027"/>
                  </a:cubicBez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pic>
        <p:nvPicPr>
          <p:cNvPr id="43" name="Picture 42" descr="A picture containing shirt&#10;&#10;Description automatically generated">
            <a:extLst>
              <a:ext uri="{FF2B5EF4-FFF2-40B4-BE49-F238E27FC236}">
                <a16:creationId xmlns:a16="http://schemas.microsoft.com/office/drawing/2014/main" id="{46A944A7-F739-45C6-9B9F-1C0BF9BFAA5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87" y="113312"/>
            <a:ext cx="1951701" cy="791127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E09BD746-7A75-4EC4-803E-272F95C98E3F}"/>
              </a:ext>
            </a:extLst>
          </p:cNvPr>
          <p:cNvSpPr txBox="1"/>
          <p:nvPr userDrawn="1"/>
        </p:nvSpPr>
        <p:spPr>
          <a:xfrm>
            <a:off x="1811306" y="366549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FOR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Freeform 7">
            <a:extLst>
              <a:ext uri="{FF2B5EF4-FFF2-40B4-BE49-F238E27FC236}">
                <a16:creationId xmlns:a16="http://schemas.microsoft.com/office/drawing/2014/main" id="{9FF5E82A-301F-4DE6-8F2F-EA22B10FAB86}"/>
              </a:ext>
            </a:extLst>
          </p:cNvPr>
          <p:cNvSpPr>
            <a:spLocks/>
          </p:cNvSpPr>
          <p:nvPr userDrawn="1"/>
        </p:nvSpPr>
        <p:spPr bwMode="auto">
          <a:xfrm flipV="1">
            <a:off x="4943872" y="-1"/>
            <a:ext cx="7248128" cy="6858000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Picture 38">
            <a:extLst>
              <a:ext uri="{FF2B5EF4-FFF2-40B4-BE49-F238E27FC236}">
                <a16:creationId xmlns:a16="http://schemas.microsoft.com/office/drawing/2014/main" id="{4C25657B-1E04-2C48-B7F2-CEBE6D9225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731" r="-1"/>
          <a:stretch/>
        </p:blipFill>
        <p:spPr>
          <a:xfrm rot="10800000">
            <a:off x="7106430" y="0"/>
            <a:ext cx="5085448" cy="6858000"/>
          </a:xfrm>
          <a:prstGeom prst="rect">
            <a:avLst/>
          </a:prstGeom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id="{B23E968C-68FE-EE4D-9A4D-00F08A90A4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375" y="1340768"/>
            <a:ext cx="5832649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lvl1pPr algn="l">
              <a:lnSpc>
                <a:spcPts val="3000"/>
              </a:lnSpc>
              <a:defRPr lang="en-US" sz="2800" b="1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DCD56706-531D-A548-A185-9577075985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375" y="2853109"/>
            <a:ext cx="58326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43" name="Graphic 8">
            <a:extLst>
              <a:ext uri="{FF2B5EF4-FFF2-40B4-BE49-F238E27FC236}">
                <a16:creationId xmlns:a16="http://schemas.microsoft.com/office/drawing/2014/main" id="{389112DC-43BC-456F-9E9B-7BF84171C0F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89689" y="377370"/>
            <a:ext cx="1547154" cy="184040"/>
            <a:chOff x="5664200" y="1340768"/>
            <a:chExt cx="17981972" cy="2139032"/>
          </a:xfrm>
          <a:solidFill>
            <a:srgbClr val="000000"/>
          </a:solidFill>
        </p:grpSpPr>
        <p:sp>
          <p:nvSpPr>
            <p:cNvPr id="44" name="Freeform 27">
              <a:extLst>
                <a:ext uri="{FF2B5EF4-FFF2-40B4-BE49-F238E27FC236}">
                  <a16:creationId xmlns:a16="http://schemas.microsoft.com/office/drawing/2014/main" id="{7076AA37-FD7B-4755-A747-8191058344E0}"/>
                </a:ext>
              </a:extLst>
            </p:cNvPr>
            <p:cNvSpPr/>
            <p:nvPr/>
          </p:nvSpPr>
          <p:spPr>
            <a:xfrm>
              <a:off x="8644870" y="1684010"/>
              <a:ext cx="1798197" cy="1750117"/>
            </a:xfrm>
            <a:custGeom>
              <a:avLst/>
              <a:gdLst>
                <a:gd name="connsiteX0" fmla="*/ 1281057 w 1798197"/>
                <a:gd name="connsiteY0" fmla="*/ 693217 h 1750117"/>
                <a:gd name="connsiteX1" fmla="*/ 987352 w 1798197"/>
                <a:gd name="connsiteY1" fmla="*/ 434588 h 1750117"/>
                <a:gd name="connsiteX2" fmla="*/ 601738 w 1798197"/>
                <a:gd name="connsiteY2" fmla="*/ 951845 h 1750117"/>
                <a:gd name="connsiteX3" fmla="*/ 957381 w 1798197"/>
                <a:gd name="connsiteY3" fmla="*/ 1406876 h 1750117"/>
                <a:gd name="connsiteX4" fmla="*/ 1298555 w 1798197"/>
                <a:gd name="connsiteY4" fmla="*/ 1122384 h 1750117"/>
                <a:gd name="connsiteX5" fmla="*/ 1299039 w 1798197"/>
                <a:gd name="connsiteY5" fmla="*/ 1115189 h 1750117"/>
                <a:gd name="connsiteX6" fmla="*/ 1880456 w 1798197"/>
                <a:gd name="connsiteY6" fmla="*/ 1115189 h 1750117"/>
                <a:gd name="connsiteX7" fmla="*/ 959379 w 1798197"/>
                <a:gd name="connsiteY7" fmla="*/ 1854128 h 1750117"/>
                <a:gd name="connsiteX8" fmla="*/ 3708 w 1798197"/>
                <a:gd name="connsiteY8" fmla="*/ 1029520 h 1750117"/>
                <a:gd name="connsiteX9" fmla="*/ 2339 w 1798197"/>
                <a:gd name="connsiteY9" fmla="*/ 955734 h 1750117"/>
                <a:gd name="connsiteX10" fmla="*/ 852209 w 1798197"/>
                <a:gd name="connsiteY10" fmla="*/ 2239 h 1750117"/>
                <a:gd name="connsiteX11" fmla="*/ 959379 w 1798197"/>
                <a:gd name="connsiteY11" fmla="*/ 948 h 1750117"/>
                <a:gd name="connsiteX12" fmla="*/ 1862474 w 1798197"/>
                <a:gd name="connsiteY12" fmla="*/ 693217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8197" h="1750117">
                  <a:moveTo>
                    <a:pt x="1281057" y="693217"/>
                  </a:moveTo>
                  <a:cubicBezTo>
                    <a:pt x="1272452" y="543270"/>
                    <a:pt x="1141507" y="427964"/>
                    <a:pt x="987352" y="434588"/>
                  </a:cubicBezTo>
                  <a:cubicBezTo>
                    <a:pt x="653686" y="434588"/>
                    <a:pt x="601738" y="708773"/>
                    <a:pt x="601738" y="951845"/>
                  </a:cubicBezTo>
                  <a:cubicBezTo>
                    <a:pt x="601738" y="1194917"/>
                    <a:pt x="703636" y="1406876"/>
                    <a:pt x="957381" y="1406876"/>
                  </a:cubicBezTo>
                  <a:cubicBezTo>
                    <a:pt x="1132312" y="1420009"/>
                    <a:pt x="1285061" y="1292638"/>
                    <a:pt x="1298555" y="1122384"/>
                  </a:cubicBezTo>
                  <a:cubicBezTo>
                    <a:pt x="1298745" y="1119988"/>
                    <a:pt x="1298906" y="1117589"/>
                    <a:pt x="1299039" y="1115189"/>
                  </a:cubicBezTo>
                  <a:lnTo>
                    <a:pt x="1880456" y="1115189"/>
                  </a:lnTo>
                  <a:cubicBezTo>
                    <a:pt x="1826510" y="1583832"/>
                    <a:pt x="1446891" y="1854128"/>
                    <a:pt x="959379" y="1854128"/>
                  </a:cubicBezTo>
                  <a:cubicBezTo>
                    <a:pt x="461513" y="1883264"/>
                    <a:pt x="33645" y="1514074"/>
                    <a:pt x="3708" y="1029520"/>
                  </a:cubicBezTo>
                  <a:cubicBezTo>
                    <a:pt x="2191" y="1004954"/>
                    <a:pt x="1734" y="980337"/>
                    <a:pt x="2339" y="955734"/>
                  </a:cubicBezTo>
                  <a:cubicBezTo>
                    <a:pt x="-33510" y="464023"/>
                    <a:pt x="346990" y="37129"/>
                    <a:pt x="852209" y="2239"/>
                  </a:cubicBezTo>
                  <a:cubicBezTo>
                    <a:pt x="887876" y="-225"/>
                    <a:pt x="923660" y="-655"/>
                    <a:pt x="959379" y="948"/>
                  </a:cubicBezTo>
                  <a:cubicBezTo>
                    <a:pt x="1414923" y="948"/>
                    <a:pt x="1814522" y="240131"/>
                    <a:pt x="1862474" y="693217"/>
                  </a:cubicBez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5" name="Freeform 28">
              <a:extLst>
                <a:ext uri="{FF2B5EF4-FFF2-40B4-BE49-F238E27FC236}">
                  <a16:creationId xmlns:a16="http://schemas.microsoft.com/office/drawing/2014/main" id="{4EA21B43-98BC-49F6-9CA7-11780CC40F1E}"/>
                </a:ext>
              </a:extLst>
            </p:cNvPr>
            <p:cNvSpPr/>
            <p:nvPr/>
          </p:nvSpPr>
          <p:spPr>
            <a:xfrm>
              <a:off x="14874966" y="1682397"/>
              <a:ext cx="1798197" cy="1750117"/>
            </a:xfrm>
            <a:custGeom>
              <a:avLst/>
              <a:gdLst>
                <a:gd name="connsiteX0" fmla="*/ 9991 w 1798197"/>
                <a:gd name="connsiteY0" fmla="*/ 47285 h 1750117"/>
                <a:gd name="connsiteX1" fmla="*/ 589409 w 1798197"/>
                <a:gd name="connsiteY1" fmla="*/ 47285 h 1750117"/>
                <a:gd name="connsiteX2" fmla="*/ 589409 w 1798197"/>
                <a:gd name="connsiteY2" fmla="*/ 300080 h 1750117"/>
                <a:gd name="connsiteX3" fmla="*/ 589409 w 1798197"/>
                <a:gd name="connsiteY3" fmla="*/ 300080 h 1750117"/>
                <a:gd name="connsiteX4" fmla="*/ 1140856 w 1798197"/>
                <a:gd name="connsiteY4" fmla="*/ 616 h 1750117"/>
                <a:gd name="connsiteX5" fmla="*/ 1822174 w 1798197"/>
                <a:gd name="connsiteY5" fmla="*/ 679272 h 1750117"/>
                <a:gd name="connsiteX6" fmla="*/ 1822174 w 1798197"/>
                <a:gd name="connsiteY6" fmla="*/ 1797403 h 1750117"/>
                <a:gd name="connsiteX7" fmla="*/ 1222775 w 1798197"/>
                <a:gd name="connsiteY7" fmla="*/ 1797403 h 1750117"/>
                <a:gd name="connsiteX8" fmla="*/ 1222775 w 1798197"/>
                <a:gd name="connsiteY8" fmla="*/ 957346 h 1750117"/>
                <a:gd name="connsiteX9" fmla="*/ 923075 w 1798197"/>
                <a:gd name="connsiteY9" fmla="*/ 473147 h 1750117"/>
                <a:gd name="connsiteX10" fmla="*/ 599399 w 1798197"/>
                <a:gd name="connsiteY10" fmla="*/ 895120 h 1750117"/>
                <a:gd name="connsiteX11" fmla="*/ 599399 w 1798197"/>
                <a:gd name="connsiteY11" fmla="*/ 1797403 h 1750117"/>
                <a:gd name="connsiteX12" fmla="*/ 0 w 1798197"/>
                <a:gd name="connsiteY12" fmla="*/ 1797403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8197" h="1750117">
                  <a:moveTo>
                    <a:pt x="9991" y="47285"/>
                  </a:moveTo>
                  <a:lnTo>
                    <a:pt x="589409" y="47285"/>
                  </a:lnTo>
                  <a:lnTo>
                    <a:pt x="589409" y="300080"/>
                  </a:lnTo>
                  <a:lnTo>
                    <a:pt x="589409" y="300080"/>
                  </a:lnTo>
                  <a:cubicBezTo>
                    <a:pt x="699916" y="106473"/>
                    <a:pt x="913537" y="-9534"/>
                    <a:pt x="1140856" y="616"/>
                  </a:cubicBezTo>
                  <a:cubicBezTo>
                    <a:pt x="1740256" y="616"/>
                    <a:pt x="1822174" y="426477"/>
                    <a:pt x="1822174" y="679272"/>
                  </a:cubicBezTo>
                  <a:lnTo>
                    <a:pt x="1822174" y="1797403"/>
                  </a:lnTo>
                  <a:lnTo>
                    <a:pt x="1222775" y="1797403"/>
                  </a:lnTo>
                  <a:lnTo>
                    <a:pt x="1222775" y="957346"/>
                  </a:lnTo>
                  <a:cubicBezTo>
                    <a:pt x="1222775" y="718164"/>
                    <a:pt x="1234762" y="473147"/>
                    <a:pt x="923075" y="473147"/>
                  </a:cubicBezTo>
                  <a:cubicBezTo>
                    <a:pt x="723275" y="473147"/>
                    <a:pt x="599399" y="638436"/>
                    <a:pt x="599399" y="895120"/>
                  </a:cubicBezTo>
                  <a:lnTo>
                    <a:pt x="599399" y="1797403"/>
                  </a:lnTo>
                  <a:lnTo>
                    <a:pt x="0" y="1797403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6" name="Freeform 29">
              <a:extLst>
                <a:ext uri="{FF2B5EF4-FFF2-40B4-BE49-F238E27FC236}">
                  <a16:creationId xmlns:a16="http://schemas.microsoft.com/office/drawing/2014/main" id="{65C833C5-59E8-489D-82EC-C34C7CF8127D}"/>
                </a:ext>
              </a:extLst>
            </p:cNvPr>
            <p:cNvSpPr/>
            <p:nvPr/>
          </p:nvSpPr>
          <p:spPr>
            <a:xfrm>
              <a:off x="16836998" y="1682369"/>
              <a:ext cx="1798197" cy="1750117"/>
            </a:xfrm>
            <a:custGeom>
              <a:avLst/>
              <a:gdLst>
                <a:gd name="connsiteX0" fmla="*/ 67932 w 1798197"/>
                <a:gd name="connsiteY0" fmla="*/ 591795 h 1750117"/>
                <a:gd name="connsiteX1" fmla="*/ 353646 w 1798197"/>
                <a:gd name="connsiteY1" fmla="*/ 123152 h 1750117"/>
                <a:gd name="connsiteX2" fmla="*/ 935063 w 1798197"/>
                <a:gd name="connsiteY2" fmla="*/ 644 h 1750117"/>
                <a:gd name="connsiteX3" fmla="*/ 1786210 w 1798197"/>
                <a:gd name="connsiteY3" fmla="*/ 584016 h 1750117"/>
                <a:gd name="connsiteX4" fmla="*/ 1786210 w 1798197"/>
                <a:gd name="connsiteY4" fmla="*/ 1356012 h 1750117"/>
                <a:gd name="connsiteX5" fmla="*/ 1858138 w 1798197"/>
                <a:gd name="connsiteY5" fmla="*/ 1797431 h 1750117"/>
                <a:gd name="connsiteX6" fmla="*/ 1258739 w 1798197"/>
                <a:gd name="connsiteY6" fmla="*/ 1797431 h 1750117"/>
                <a:gd name="connsiteX7" fmla="*/ 1222775 w 1798197"/>
                <a:gd name="connsiteY7" fmla="*/ 1632142 h 1750117"/>
                <a:gd name="connsiteX8" fmla="*/ 623376 w 1798197"/>
                <a:gd name="connsiteY8" fmla="*/ 1847990 h 1750117"/>
                <a:gd name="connsiteX9" fmla="*/ 0 w 1798197"/>
                <a:gd name="connsiteY9" fmla="*/ 1317121 h 1750117"/>
                <a:gd name="connsiteX10" fmla="*/ 1062935 w 1798197"/>
                <a:gd name="connsiteY10" fmla="*/ 710414 h 1750117"/>
                <a:gd name="connsiteX11" fmla="*/ 1222775 w 1798197"/>
                <a:gd name="connsiteY11" fmla="*/ 547069 h 1750117"/>
                <a:gd name="connsiteX12" fmla="*/ 933065 w 1798197"/>
                <a:gd name="connsiteY12" fmla="*/ 366224 h 1750117"/>
                <a:gd name="connsiteX13" fmla="*/ 633365 w 1798197"/>
                <a:gd name="connsiteY13" fmla="*/ 584016 h 1750117"/>
                <a:gd name="connsiteX14" fmla="*/ 843155 w 1798197"/>
                <a:gd name="connsiteY14" fmla="*/ 1499911 h 1750117"/>
                <a:gd name="connsiteX15" fmla="*/ 1208789 w 1798197"/>
                <a:gd name="connsiteY15" fmla="*/ 984599 h 1750117"/>
                <a:gd name="connsiteX16" fmla="*/ 839160 w 1798197"/>
                <a:gd name="connsiteY16" fmla="*/ 1077938 h 1750117"/>
                <a:gd name="connsiteX17" fmla="*/ 593405 w 1798197"/>
                <a:gd name="connsiteY17" fmla="*/ 1301564 h 1750117"/>
                <a:gd name="connsiteX18" fmla="*/ 843155 w 1798197"/>
                <a:gd name="connsiteY18" fmla="*/ 1496022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98197" h="1750117">
                  <a:moveTo>
                    <a:pt x="67932" y="591795"/>
                  </a:moveTo>
                  <a:cubicBezTo>
                    <a:pt x="68543" y="396642"/>
                    <a:pt x="177947" y="217193"/>
                    <a:pt x="353646" y="123152"/>
                  </a:cubicBezTo>
                  <a:cubicBezTo>
                    <a:pt x="534107" y="36279"/>
                    <a:pt x="733842" y="-5806"/>
                    <a:pt x="935063" y="644"/>
                  </a:cubicBezTo>
                  <a:cubicBezTo>
                    <a:pt x="1366630" y="644"/>
                    <a:pt x="1786210" y="92039"/>
                    <a:pt x="1786210" y="584016"/>
                  </a:cubicBezTo>
                  <a:lnTo>
                    <a:pt x="1786210" y="1356012"/>
                  </a:lnTo>
                  <a:cubicBezTo>
                    <a:pt x="1775222" y="1506568"/>
                    <a:pt x="1799827" y="1657572"/>
                    <a:pt x="1858138" y="1797431"/>
                  </a:cubicBezTo>
                  <a:lnTo>
                    <a:pt x="1258739" y="1797431"/>
                  </a:lnTo>
                  <a:cubicBezTo>
                    <a:pt x="1239900" y="1743960"/>
                    <a:pt x="1227823" y="1688455"/>
                    <a:pt x="1222775" y="1632142"/>
                  </a:cubicBezTo>
                  <a:cubicBezTo>
                    <a:pt x="1060166" y="1778408"/>
                    <a:pt x="844642" y="1856020"/>
                    <a:pt x="623376" y="1847990"/>
                  </a:cubicBezTo>
                  <a:cubicBezTo>
                    <a:pt x="273726" y="1847990"/>
                    <a:pt x="0" y="1678812"/>
                    <a:pt x="0" y="1317121"/>
                  </a:cubicBezTo>
                  <a:cubicBezTo>
                    <a:pt x="0" y="747361"/>
                    <a:pt x="647351" y="790141"/>
                    <a:pt x="1062935" y="710414"/>
                  </a:cubicBezTo>
                  <a:cubicBezTo>
                    <a:pt x="1164833" y="689023"/>
                    <a:pt x="1222775" y="655966"/>
                    <a:pt x="1222775" y="547069"/>
                  </a:cubicBezTo>
                  <a:cubicBezTo>
                    <a:pt x="1222775" y="438173"/>
                    <a:pt x="1056941" y="366224"/>
                    <a:pt x="933065" y="366224"/>
                  </a:cubicBezTo>
                  <a:cubicBezTo>
                    <a:pt x="788695" y="346522"/>
                    <a:pt x="654972" y="443699"/>
                    <a:pt x="633365" y="584016"/>
                  </a:cubicBezTo>
                  <a:close/>
                  <a:moveTo>
                    <a:pt x="843155" y="1499911"/>
                  </a:moveTo>
                  <a:cubicBezTo>
                    <a:pt x="1126871" y="1499911"/>
                    <a:pt x="1222775" y="1346290"/>
                    <a:pt x="1208789" y="984599"/>
                  </a:cubicBezTo>
                  <a:cubicBezTo>
                    <a:pt x="1089639" y="1029330"/>
                    <a:pt x="965624" y="1060647"/>
                    <a:pt x="839160" y="1077938"/>
                  </a:cubicBezTo>
                  <a:cubicBezTo>
                    <a:pt x="705293" y="1109052"/>
                    <a:pt x="593405" y="1163500"/>
                    <a:pt x="593405" y="1301564"/>
                  </a:cubicBezTo>
                  <a:cubicBezTo>
                    <a:pt x="593405" y="1439629"/>
                    <a:pt x="709290" y="1496022"/>
                    <a:pt x="843155" y="1496022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7" name="Freeform 30">
              <a:extLst>
                <a:ext uri="{FF2B5EF4-FFF2-40B4-BE49-F238E27FC236}">
                  <a16:creationId xmlns:a16="http://schemas.microsoft.com/office/drawing/2014/main" id="{3D047FE5-BA83-4BC5-8E2F-65C09122780F}"/>
                </a:ext>
              </a:extLst>
            </p:cNvPr>
            <p:cNvSpPr/>
            <p:nvPr/>
          </p:nvSpPr>
          <p:spPr>
            <a:xfrm>
              <a:off x="18819012" y="1344657"/>
              <a:ext cx="599399" cy="2139032"/>
            </a:xfrm>
            <a:custGeom>
              <a:avLst/>
              <a:gdLst>
                <a:gd name="connsiteX0" fmla="*/ -1 w 599399"/>
                <a:gd name="connsiteY0" fmla="*/ 0 h 2139032"/>
                <a:gd name="connsiteX1" fmla="*/ 599398 w 599399"/>
                <a:gd name="connsiteY1" fmla="*/ 0 h 2139032"/>
                <a:gd name="connsiteX2" fmla="*/ 599398 w 599399"/>
                <a:gd name="connsiteY2" fmla="*/ 2142921 h 2139032"/>
                <a:gd name="connsiteX3" fmla="*/ -1 w 599399"/>
                <a:gd name="connsiteY3" fmla="*/ 2142921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9399" h="2139032">
                  <a:moveTo>
                    <a:pt x="-1" y="0"/>
                  </a:moveTo>
                  <a:lnTo>
                    <a:pt x="599398" y="0"/>
                  </a:lnTo>
                  <a:lnTo>
                    <a:pt x="599398" y="2142921"/>
                  </a:lnTo>
                  <a:lnTo>
                    <a:pt x="-1" y="2142921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8" name="Freeform 31">
              <a:extLst>
                <a:ext uri="{FF2B5EF4-FFF2-40B4-BE49-F238E27FC236}">
                  <a16:creationId xmlns:a16="http://schemas.microsoft.com/office/drawing/2014/main" id="{206B2CD3-148B-4908-88AB-107C2D2C42C6}"/>
                </a:ext>
              </a:extLst>
            </p:cNvPr>
            <p:cNvSpPr/>
            <p:nvPr/>
          </p:nvSpPr>
          <p:spPr>
            <a:xfrm>
              <a:off x="19550279" y="1340768"/>
              <a:ext cx="1798197" cy="2139032"/>
            </a:xfrm>
            <a:custGeom>
              <a:avLst/>
              <a:gdLst>
                <a:gd name="connsiteX0" fmla="*/ 1898097 w 1798197"/>
                <a:gd name="connsiteY0" fmla="*/ 2139032 h 2139032"/>
                <a:gd name="connsiteX1" fmla="*/ 1320676 w 1798197"/>
                <a:gd name="connsiteY1" fmla="*/ 2139032 h 2139032"/>
                <a:gd name="connsiteX2" fmla="*/ 1320676 w 1798197"/>
                <a:gd name="connsiteY2" fmla="*/ 1944575 h 2139032"/>
                <a:gd name="connsiteX3" fmla="*/ 1320676 w 1798197"/>
                <a:gd name="connsiteY3" fmla="*/ 1944575 h 2139032"/>
                <a:gd name="connsiteX4" fmla="*/ 817182 w 1798197"/>
                <a:gd name="connsiteY4" fmla="*/ 2199314 h 2139032"/>
                <a:gd name="connsiteX5" fmla="*/ 0 w 1798197"/>
                <a:gd name="connsiteY5" fmla="*/ 1227027 h 2139032"/>
                <a:gd name="connsiteX6" fmla="*/ 771227 w 1798197"/>
                <a:gd name="connsiteY6" fmla="*/ 338356 h 2139032"/>
                <a:gd name="connsiteX7" fmla="*/ 1284712 w 1798197"/>
                <a:gd name="connsiteY7" fmla="*/ 583372 h 2139032"/>
                <a:gd name="connsiteX8" fmla="*/ 1284712 w 1798197"/>
                <a:gd name="connsiteY8" fmla="*/ 583372 h 2139032"/>
                <a:gd name="connsiteX9" fmla="*/ 1284712 w 1798197"/>
                <a:gd name="connsiteY9" fmla="*/ 0 h 2139032"/>
                <a:gd name="connsiteX10" fmla="*/ 1884111 w 1798197"/>
                <a:gd name="connsiteY10" fmla="*/ 0 h 2139032"/>
                <a:gd name="connsiteX11" fmla="*/ 597401 w 1798197"/>
                <a:gd name="connsiteY11" fmla="*/ 1244528 h 2139032"/>
                <a:gd name="connsiteX12" fmla="*/ 965033 w 1798197"/>
                <a:gd name="connsiteY12" fmla="*/ 1750117 h 2139032"/>
                <a:gd name="connsiteX13" fmla="*/ 1320676 w 1798197"/>
                <a:gd name="connsiteY13" fmla="*/ 1260084 h 2139032"/>
                <a:gd name="connsiteX14" fmla="*/ 959039 w 1798197"/>
                <a:gd name="connsiteY14" fmla="*/ 777830 h 2139032"/>
                <a:gd name="connsiteX15" fmla="*/ 591407 w 1798197"/>
                <a:gd name="connsiteY15" fmla="*/ 1248417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98197" h="2139032">
                  <a:moveTo>
                    <a:pt x="1898097" y="2139032"/>
                  </a:moveTo>
                  <a:lnTo>
                    <a:pt x="1320676" y="2139032"/>
                  </a:lnTo>
                  <a:lnTo>
                    <a:pt x="1320676" y="1944575"/>
                  </a:lnTo>
                  <a:lnTo>
                    <a:pt x="1320676" y="1944575"/>
                  </a:lnTo>
                  <a:cubicBezTo>
                    <a:pt x="1209173" y="2108272"/>
                    <a:pt x="1018907" y="2204536"/>
                    <a:pt x="817182" y="2199314"/>
                  </a:cubicBezTo>
                  <a:cubicBezTo>
                    <a:pt x="241757" y="2199314"/>
                    <a:pt x="0" y="1726782"/>
                    <a:pt x="0" y="1227027"/>
                  </a:cubicBezTo>
                  <a:cubicBezTo>
                    <a:pt x="0" y="771996"/>
                    <a:pt x="251748" y="338356"/>
                    <a:pt x="771227" y="338356"/>
                  </a:cubicBezTo>
                  <a:cubicBezTo>
                    <a:pt x="973505" y="332283"/>
                    <a:pt x="1165764" y="424022"/>
                    <a:pt x="1284712" y="583372"/>
                  </a:cubicBezTo>
                  <a:lnTo>
                    <a:pt x="1284712" y="583372"/>
                  </a:lnTo>
                  <a:lnTo>
                    <a:pt x="1284712" y="0"/>
                  </a:lnTo>
                  <a:lnTo>
                    <a:pt x="1884111" y="0"/>
                  </a:lnTo>
                  <a:close/>
                  <a:moveTo>
                    <a:pt x="597401" y="1244528"/>
                  </a:moveTo>
                  <a:cubicBezTo>
                    <a:pt x="597401" y="1483710"/>
                    <a:pt x="689308" y="1750117"/>
                    <a:pt x="965033" y="1750117"/>
                  </a:cubicBezTo>
                  <a:cubicBezTo>
                    <a:pt x="1240756" y="1750117"/>
                    <a:pt x="1320676" y="1483710"/>
                    <a:pt x="1320676" y="1260084"/>
                  </a:cubicBezTo>
                  <a:cubicBezTo>
                    <a:pt x="1320676" y="1036458"/>
                    <a:pt x="1218778" y="777830"/>
                    <a:pt x="959039" y="777830"/>
                  </a:cubicBezTo>
                  <a:cubicBezTo>
                    <a:pt x="699299" y="777830"/>
                    <a:pt x="591407" y="1024791"/>
                    <a:pt x="591407" y="1248417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9" name="Freeform 32">
              <a:extLst>
                <a:ext uri="{FF2B5EF4-FFF2-40B4-BE49-F238E27FC236}">
                  <a16:creationId xmlns:a16="http://schemas.microsoft.com/office/drawing/2014/main" id="{67E4A4ED-B079-4736-9590-406F0AB8028E}"/>
                </a:ext>
              </a:extLst>
            </p:cNvPr>
            <p:cNvSpPr/>
            <p:nvPr/>
          </p:nvSpPr>
          <p:spPr>
            <a:xfrm>
              <a:off x="21566257" y="1344657"/>
              <a:ext cx="399599" cy="388915"/>
            </a:xfrm>
            <a:custGeom>
              <a:avLst/>
              <a:gdLst>
                <a:gd name="connsiteX0" fmla="*/ 281718 w 399599"/>
                <a:gd name="connsiteY0" fmla="*/ 579483 h 388914"/>
                <a:gd name="connsiteX1" fmla="*/ 0 w 399599"/>
                <a:gd name="connsiteY1" fmla="*/ 579483 h 388914"/>
                <a:gd name="connsiteX2" fmla="*/ 0 w 399599"/>
                <a:gd name="connsiteY2" fmla="*/ 0 h 388914"/>
                <a:gd name="connsiteX3" fmla="*/ 561438 w 399599"/>
                <a:gd name="connsiteY3" fmla="*/ 0 h 388914"/>
                <a:gd name="connsiteX4" fmla="*/ 281718 w 399599"/>
                <a:gd name="connsiteY4" fmla="*/ 579483 h 38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599" h="388914">
                  <a:moveTo>
                    <a:pt x="281718" y="579483"/>
                  </a:moveTo>
                  <a:lnTo>
                    <a:pt x="0" y="579483"/>
                  </a:lnTo>
                  <a:lnTo>
                    <a:pt x="0" y="0"/>
                  </a:lnTo>
                  <a:lnTo>
                    <a:pt x="561438" y="0"/>
                  </a:lnTo>
                  <a:lnTo>
                    <a:pt x="281718" y="579483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0" name="Freeform 33">
              <a:extLst>
                <a:ext uri="{FF2B5EF4-FFF2-40B4-BE49-F238E27FC236}">
                  <a16:creationId xmlns:a16="http://schemas.microsoft.com/office/drawing/2014/main" id="{43C16BAF-579F-4829-90BE-413BF95F3422}"/>
                </a:ext>
              </a:extLst>
            </p:cNvPr>
            <p:cNvSpPr/>
            <p:nvPr/>
          </p:nvSpPr>
          <p:spPr>
            <a:xfrm>
              <a:off x="10659192" y="1340768"/>
              <a:ext cx="1997997" cy="2139032"/>
            </a:xfrm>
            <a:custGeom>
              <a:avLst/>
              <a:gdLst>
                <a:gd name="connsiteX0" fmla="*/ 951047 w 1997996"/>
                <a:gd name="connsiteY0" fmla="*/ 0 h 2139032"/>
                <a:gd name="connsiteX1" fmla="*/ 0 w 1997996"/>
                <a:gd name="connsiteY1" fmla="*/ 0 h 2139032"/>
                <a:gd name="connsiteX2" fmla="*/ 0 w 1997996"/>
                <a:gd name="connsiteY2" fmla="*/ 2139032 h 2139032"/>
                <a:gd name="connsiteX3" fmla="*/ 961036 w 1997996"/>
                <a:gd name="connsiteY3" fmla="*/ 2139032 h 2139032"/>
                <a:gd name="connsiteX4" fmla="*/ 2057937 w 1997996"/>
                <a:gd name="connsiteY4" fmla="*/ 1057849 h 2139032"/>
                <a:gd name="connsiteX5" fmla="*/ 951047 w 1997996"/>
                <a:gd name="connsiteY5" fmla="*/ 0 h 2139032"/>
                <a:gd name="connsiteX6" fmla="*/ 897101 w 1997996"/>
                <a:gd name="connsiteY6" fmla="*/ 1645110 h 2139032"/>
                <a:gd name="connsiteX7" fmla="*/ 629369 w 1997996"/>
                <a:gd name="connsiteY7" fmla="*/ 1645110 h 2139032"/>
                <a:gd name="connsiteX8" fmla="*/ 629369 w 1997996"/>
                <a:gd name="connsiteY8" fmla="*/ 499756 h 2139032"/>
                <a:gd name="connsiteX9" fmla="*/ 897101 w 1997996"/>
                <a:gd name="connsiteY9" fmla="*/ 499756 h 2139032"/>
                <a:gd name="connsiteX10" fmla="*/ 1400596 w 1997996"/>
                <a:gd name="connsiteY10" fmla="*/ 1063682 h 2139032"/>
                <a:gd name="connsiteX11" fmla="*/ 897101 w 1997996"/>
                <a:gd name="connsiteY11" fmla="*/ 1647055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7996" h="2139032">
                  <a:moveTo>
                    <a:pt x="951047" y="0"/>
                  </a:moveTo>
                  <a:lnTo>
                    <a:pt x="0" y="0"/>
                  </a:lnTo>
                  <a:lnTo>
                    <a:pt x="0" y="2139032"/>
                  </a:lnTo>
                  <a:lnTo>
                    <a:pt x="961036" y="2139032"/>
                  </a:lnTo>
                  <a:cubicBezTo>
                    <a:pt x="1640355" y="2139032"/>
                    <a:pt x="2057937" y="1759840"/>
                    <a:pt x="2057937" y="1057849"/>
                  </a:cubicBezTo>
                  <a:cubicBezTo>
                    <a:pt x="2047947" y="402527"/>
                    <a:pt x="1636359" y="0"/>
                    <a:pt x="951047" y="0"/>
                  </a:cubicBezTo>
                  <a:moveTo>
                    <a:pt x="897101" y="1645110"/>
                  </a:moveTo>
                  <a:lnTo>
                    <a:pt x="629369" y="1645110"/>
                  </a:lnTo>
                  <a:lnTo>
                    <a:pt x="629369" y="499756"/>
                  </a:lnTo>
                  <a:lnTo>
                    <a:pt x="897101" y="499756"/>
                  </a:lnTo>
                  <a:cubicBezTo>
                    <a:pt x="1244752" y="499756"/>
                    <a:pt x="1400596" y="723382"/>
                    <a:pt x="1400596" y="1063682"/>
                  </a:cubicBezTo>
                  <a:cubicBezTo>
                    <a:pt x="1400596" y="1438985"/>
                    <a:pt x="1274722" y="1647055"/>
                    <a:pt x="897101" y="1647055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1" name="Freeform 34">
              <a:extLst>
                <a:ext uri="{FF2B5EF4-FFF2-40B4-BE49-F238E27FC236}">
                  <a16:creationId xmlns:a16="http://schemas.microsoft.com/office/drawing/2014/main" id="{2A84A834-E62E-4856-A70E-25DADA605446}"/>
                </a:ext>
              </a:extLst>
            </p:cNvPr>
            <p:cNvSpPr/>
            <p:nvPr/>
          </p:nvSpPr>
          <p:spPr>
            <a:xfrm>
              <a:off x="5664200" y="1340768"/>
              <a:ext cx="2996995" cy="2139032"/>
            </a:xfrm>
            <a:custGeom>
              <a:avLst/>
              <a:gdLst>
                <a:gd name="connsiteX0" fmla="*/ 1842153 w 2996995"/>
                <a:gd name="connsiteY0" fmla="*/ 2139032 h 2139032"/>
                <a:gd name="connsiteX1" fmla="*/ 2081913 w 2996995"/>
                <a:gd name="connsiteY1" fmla="*/ 1279530 h 2139032"/>
                <a:gd name="connsiteX2" fmla="*/ 2145849 w 2996995"/>
                <a:gd name="connsiteY2" fmla="*/ 1003400 h 2139032"/>
                <a:gd name="connsiteX3" fmla="*/ 2145849 w 2996995"/>
                <a:gd name="connsiteY3" fmla="*/ 1003400 h 2139032"/>
                <a:gd name="connsiteX4" fmla="*/ 2193801 w 2996995"/>
                <a:gd name="connsiteY4" fmla="*/ 1285364 h 2139032"/>
                <a:gd name="connsiteX5" fmla="*/ 2369624 w 2996995"/>
                <a:gd name="connsiteY5" fmla="*/ 2139032 h 2139032"/>
                <a:gd name="connsiteX6" fmla="*/ 3028963 w 2996995"/>
                <a:gd name="connsiteY6" fmla="*/ 2139032 h 2139032"/>
                <a:gd name="connsiteX7" fmla="*/ 2565428 w 2996995"/>
                <a:gd name="connsiteY7" fmla="*/ 0 h 2139032"/>
                <a:gd name="connsiteX8" fmla="*/ 1868127 w 2996995"/>
                <a:gd name="connsiteY8" fmla="*/ 0 h 2139032"/>
                <a:gd name="connsiteX9" fmla="*/ 1598398 w 2996995"/>
                <a:gd name="connsiteY9" fmla="*/ 1079239 h 2139032"/>
                <a:gd name="connsiteX10" fmla="*/ 1518478 w 2996995"/>
                <a:gd name="connsiteY10" fmla="*/ 1361202 h 2139032"/>
                <a:gd name="connsiteX11" fmla="*/ 1518478 w 2996995"/>
                <a:gd name="connsiteY11" fmla="*/ 1361202 h 2139032"/>
                <a:gd name="connsiteX12" fmla="*/ 1440556 w 2996995"/>
                <a:gd name="connsiteY12" fmla="*/ 1079239 h 2139032"/>
                <a:gd name="connsiteX13" fmla="*/ 1160836 w 2996995"/>
                <a:gd name="connsiteY13" fmla="*/ 0 h 2139032"/>
                <a:gd name="connsiteX14" fmla="*/ 461537 w 2996995"/>
                <a:gd name="connsiteY14" fmla="*/ 0 h 2139032"/>
                <a:gd name="connsiteX15" fmla="*/ 0 w 2996995"/>
                <a:gd name="connsiteY15" fmla="*/ 2139032 h 2139032"/>
                <a:gd name="connsiteX16" fmla="*/ 659339 w 2996995"/>
                <a:gd name="connsiteY16" fmla="*/ 2139032 h 2139032"/>
                <a:gd name="connsiteX17" fmla="*/ 829169 w 2996995"/>
                <a:gd name="connsiteY17" fmla="*/ 1285364 h 2139032"/>
                <a:gd name="connsiteX18" fmla="*/ 875123 w 2996995"/>
                <a:gd name="connsiteY18" fmla="*/ 1003400 h 2139032"/>
                <a:gd name="connsiteX19" fmla="*/ 875123 w 2996995"/>
                <a:gd name="connsiteY19" fmla="*/ 1003400 h 2139032"/>
                <a:gd name="connsiteX20" fmla="*/ 939059 w 2996995"/>
                <a:gd name="connsiteY20" fmla="*/ 1279530 h 2139032"/>
                <a:gd name="connsiteX21" fmla="*/ 1186810 w 2996995"/>
                <a:gd name="connsiteY21" fmla="*/ 2139032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96995" h="2139032">
                  <a:moveTo>
                    <a:pt x="1842153" y="2139032"/>
                  </a:moveTo>
                  <a:lnTo>
                    <a:pt x="2081913" y="1279530"/>
                  </a:lnTo>
                  <a:cubicBezTo>
                    <a:pt x="2107887" y="1178412"/>
                    <a:pt x="2135859" y="1061738"/>
                    <a:pt x="2145849" y="1003400"/>
                  </a:cubicBezTo>
                  <a:lnTo>
                    <a:pt x="2145849" y="1003400"/>
                  </a:lnTo>
                  <a:cubicBezTo>
                    <a:pt x="2145849" y="1048126"/>
                    <a:pt x="2169825" y="1176468"/>
                    <a:pt x="2193801" y="1285364"/>
                  </a:cubicBezTo>
                  <a:lnTo>
                    <a:pt x="2369624" y="2139032"/>
                  </a:lnTo>
                  <a:lnTo>
                    <a:pt x="3028963" y="2139032"/>
                  </a:lnTo>
                  <a:lnTo>
                    <a:pt x="2565428" y="0"/>
                  </a:lnTo>
                  <a:lnTo>
                    <a:pt x="1868127" y="0"/>
                  </a:lnTo>
                  <a:lnTo>
                    <a:pt x="1598398" y="1079239"/>
                  </a:lnTo>
                  <a:cubicBezTo>
                    <a:pt x="1564432" y="1166745"/>
                    <a:pt x="1534462" y="1297031"/>
                    <a:pt x="1518478" y="1361202"/>
                  </a:cubicBezTo>
                  <a:lnTo>
                    <a:pt x="1518478" y="1361202"/>
                  </a:lnTo>
                  <a:cubicBezTo>
                    <a:pt x="1492504" y="1297031"/>
                    <a:pt x="1464532" y="1166745"/>
                    <a:pt x="1440556" y="1079239"/>
                  </a:cubicBezTo>
                  <a:lnTo>
                    <a:pt x="1160836" y="0"/>
                  </a:lnTo>
                  <a:lnTo>
                    <a:pt x="461537" y="0"/>
                  </a:lnTo>
                  <a:lnTo>
                    <a:pt x="0" y="2139032"/>
                  </a:lnTo>
                  <a:lnTo>
                    <a:pt x="659339" y="2139032"/>
                  </a:lnTo>
                  <a:lnTo>
                    <a:pt x="829169" y="1285364"/>
                  </a:lnTo>
                  <a:cubicBezTo>
                    <a:pt x="851147" y="1176468"/>
                    <a:pt x="869129" y="1048126"/>
                    <a:pt x="875123" y="1003400"/>
                  </a:cubicBezTo>
                  <a:lnTo>
                    <a:pt x="875123" y="1003400"/>
                  </a:lnTo>
                  <a:cubicBezTo>
                    <a:pt x="875123" y="1061738"/>
                    <a:pt x="911087" y="1178412"/>
                    <a:pt x="939059" y="1279530"/>
                  </a:cubicBezTo>
                  <a:lnTo>
                    <a:pt x="1186810" y="2139032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30CF2EF1-4FB6-4CE5-8CFE-8B537EC5A6FE}"/>
                </a:ext>
              </a:extLst>
            </p:cNvPr>
            <p:cNvSpPr/>
            <p:nvPr/>
          </p:nvSpPr>
          <p:spPr>
            <a:xfrm>
              <a:off x="12830059" y="1683552"/>
              <a:ext cx="1798197" cy="1750117"/>
            </a:xfrm>
            <a:custGeom>
              <a:avLst/>
              <a:gdLst>
                <a:gd name="connsiteX0" fmla="*/ 963990 w 1798197"/>
                <a:gd name="connsiteY0" fmla="*/ 1406 h 1750117"/>
                <a:gd name="connsiteX1" fmla="*/ 1436 w 1798197"/>
                <a:gd name="connsiteY1" fmla="*/ 839168 h 1750117"/>
                <a:gd name="connsiteX2" fmla="*/ 956 w 1798197"/>
                <a:gd name="connsiteY2" fmla="*/ 928968 h 1750117"/>
                <a:gd name="connsiteX3" fmla="*/ 871723 w 1798197"/>
                <a:gd name="connsiteY3" fmla="*/ 1856998 h 1750117"/>
                <a:gd name="connsiteX4" fmla="*/ 963991 w 1798197"/>
                <a:gd name="connsiteY4" fmla="*/ 1856530 h 1750117"/>
                <a:gd name="connsiteX5" fmla="*/ 1924651 w 1798197"/>
                <a:gd name="connsiteY5" fmla="*/ 1016712 h 1750117"/>
                <a:gd name="connsiteX6" fmla="*/ 1925028 w 1798197"/>
                <a:gd name="connsiteY6" fmla="*/ 928968 h 1750117"/>
                <a:gd name="connsiteX7" fmla="*/ 1054145 w 1798197"/>
                <a:gd name="connsiteY7" fmla="*/ 1039 h 1750117"/>
                <a:gd name="connsiteX8" fmla="*/ 963991 w 1798197"/>
                <a:gd name="connsiteY8" fmla="*/ 1406 h 1750117"/>
                <a:gd name="connsiteX9" fmla="*/ 963990 w 1798197"/>
                <a:gd name="connsiteY9" fmla="*/ 1419001 h 1750117"/>
                <a:gd name="connsiteX10" fmla="*/ 600355 w 1798197"/>
                <a:gd name="connsiteY10" fmla="*/ 928968 h 1750117"/>
                <a:gd name="connsiteX11" fmla="*/ 963990 w 1798197"/>
                <a:gd name="connsiteY11" fmla="*/ 435046 h 1750117"/>
                <a:gd name="connsiteX12" fmla="*/ 1325628 w 1798197"/>
                <a:gd name="connsiteY12" fmla="*/ 928968 h 1750117"/>
                <a:gd name="connsiteX13" fmla="*/ 963990 w 1798197"/>
                <a:gd name="connsiteY13" fmla="*/ 1419001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98197" h="1750117">
                  <a:moveTo>
                    <a:pt x="963990" y="1406"/>
                  </a:moveTo>
                  <a:cubicBezTo>
                    <a:pt x="460491" y="-25947"/>
                    <a:pt x="29541" y="349132"/>
                    <a:pt x="1436" y="839168"/>
                  </a:cubicBezTo>
                  <a:cubicBezTo>
                    <a:pt x="-278" y="869074"/>
                    <a:pt x="-439" y="899046"/>
                    <a:pt x="956" y="928968"/>
                  </a:cubicBezTo>
                  <a:cubicBezTo>
                    <a:pt x="-21898" y="1419263"/>
                    <a:pt x="367958" y="1834756"/>
                    <a:pt x="871723" y="1856998"/>
                  </a:cubicBezTo>
                  <a:cubicBezTo>
                    <a:pt x="902467" y="1858356"/>
                    <a:pt x="933262" y="1858199"/>
                    <a:pt x="963991" y="1856530"/>
                  </a:cubicBezTo>
                  <a:cubicBezTo>
                    <a:pt x="1467550" y="1882807"/>
                    <a:pt x="1897653" y="1506807"/>
                    <a:pt x="1924651" y="1016712"/>
                  </a:cubicBezTo>
                  <a:cubicBezTo>
                    <a:pt x="1926261" y="987488"/>
                    <a:pt x="1926387" y="958204"/>
                    <a:pt x="1925028" y="928968"/>
                  </a:cubicBezTo>
                  <a:cubicBezTo>
                    <a:pt x="1947820" y="438670"/>
                    <a:pt x="1557913" y="23223"/>
                    <a:pt x="1054145" y="1039"/>
                  </a:cubicBezTo>
                  <a:cubicBezTo>
                    <a:pt x="1024106" y="-283"/>
                    <a:pt x="994018" y="-161"/>
                    <a:pt x="963991" y="1406"/>
                  </a:cubicBezTo>
                  <a:moveTo>
                    <a:pt x="963990" y="1419001"/>
                  </a:moveTo>
                  <a:cubicBezTo>
                    <a:pt x="704251" y="1419001"/>
                    <a:pt x="600355" y="1208987"/>
                    <a:pt x="600355" y="928968"/>
                  </a:cubicBezTo>
                  <a:cubicBezTo>
                    <a:pt x="600355" y="648949"/>
                    <a:pt x="704251" y="435046"/>
                    <a:pt x="963990" y="435046"/>
                  </a:cubicBezTo>
                  <a:cubicBezTo>
                    <a:pt x="1223730" y="435046"/>
                    <a:pt x="1325628" y="648949"/>
                    <a:pt x="1325628" y="928968"/>
                  </a:cubicBezTo>
                  <a:cubicBezTo>
                    <a:pt x="1325628" y="1208987"/>
                    <a:pt x="1225728" y="1419001"/>
                    <a:pt x="963990" y="1419001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2F04E45D-3FBE-4D30-8465-398D9026F062}"/>
                </a:ext>
              </a:extLst>
            </p:cNvPr>
            <p:cNvSpPr/>
            <p:nvPr/>
          </p:nvSpPr>
          <p:spPr>
            <a:xfrm>
              <a:off x="21989833" y="1683013"/>
              <a:ext cx="1598398" cy="1750117"/>
            </a:xfrm>
            <a:custGeom>
              <a:avLst/>
              <a:gdLst>
                <a:gd name="connsiteX0" fmla="*/ 565434 w 1598397"/>
                <a:gd name="connsiteY0" fmla="*/ 1227027 h 1750117"/>
                <a:gd name="connsiteX1" fmla="*/ 663335 w 1598397"/>
                <a:gd name="connsiteY1" fmla="*/ 1421484 h 1750117"/>
                <a:gd name="connsiteX2" fmla="*/ 863135 w 1598397"/>
                <a:gd name="connsiteY2" fmla="*/ 1483710 h 1750117"/>
                <a:gd name="connsiteX3" fmla="*/ 1142855 w 1598397"/>
                <a:gd name="connsiteY3" fmla="*/ 1289253 h 1750117"/>
                <a:gd name="connsiteX4" fmla="*/ 857141 w 1598397"/>
                <a:gd name="connsiteY4" fmla="*/ 1112297 h 1750117"/>
                <a:gd name="connsiteX5" fmla="*/ 9991 w 1598397"/>
                <a:gd name="connsiteY5" fmla="*/ 538647 h 1750117"/>
                <a:gd name="connsiteX6" fmla="*/ 849149 w 1598397"/>
                <a:gd name="connsiteY6" fmla="*/ 0 h 1750117"/>
                <a:gd name="connsiteX7" fmla="*/ 1680316 w 1598397"/>
                <a:gd name="connsiteY7" fmla="*/ 567816 h 1750117"/>
                <a:gd name="connsiteX8" fmla="*/ 1126870 w 1598397"/>
                <a:gd name="connsiteY8" fmla="*/ 567816 h 1750117"/>
                <a:gd name="connsiteX9" fmla="*/ 1056941 w 1598397"/>
                <a:gd name="connsiteY9" fmla="*/ 416139 h 1750117"/>
                <a:gd name="connsiteX10" fmla="*/ 877121 w 1598397"/>
                <a:gd name="connsiteY10" fmla="*/ 371414 h 1750117"/>
                <a:gd name="connsiteX11" fmla="*/ 623376 w 1598397"/>
                <a:gd name="connsiteY11" fmla="*/ 503645 h 1750117"/>
                <a:gd name="connsiteX12" fmla="*/ 1306690 w 1598397"/>
                <a:gd name="connsiteY12" fmla="*/ 756440 h 1750117"/>
                <a:gd name="connsiteX13" fmla="*/ 1764232 w 1598397"/>
                <a:gd name="connsiteY13" fmla="*/ 1230916 h 1750117"/>
                <a:gd name="connsiteX14" fmla="*/ 883114 w 1598397"/>
                <a:gd name="connsiteY14" fmla="*/ 1855124 h 1750117"/>
                <a:gd name="connsiteX15" fmla="*/ 0 w 1598397"/>
                <a:gd name="connsiteY15" fmla="*/ 1227027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98397" h="1750117">
                  <a:moveTo>
                    <a:pt x="565434" y="1227027"/>
                  </a:moveTo>
                  <a:cubicBezTo>
                    <a:pt x="562613" y="1303699"/>
                    <a:pt x="599352" y="1376670"/>
                    <a:pt x="663335" y="1421484"/>
                  </a:cubicBezTo>
                  <a:cubicBezTo>
                    <a:pt x="721521" y="1462225"/>
                    <a:pt x="791457" y="1484006"/>
                    <a:pt x="863135" y="1483710"/>
                  </a:cubicBezTo>
                  <a:cubicBezTo>
                    <a:pt x="979019" y="1483711"/>
                    <a:pt x="1142855" y="1435096"/>
                    <a:pt x="1142855" y="1289253"/>
                  </a:cubicBezTo>
                  <a:cubicBezTo>
                    <a:pt x="1142855" y="1143410"/>
                    <a:pt x="967031" y="1135632"/>
                    <a:pt x="857141" y="1112297"/>
                  </a:cubicBezTo>
                  <a:cubicBezTo>
                    <a:pt x="491507" y="1018957"/>
                    <a:pt x="9991" y="1018957"/>
                    <a:pt x="9991" y="538647"/>
                  </a:cubicBezTo>
                  <a:cubicBezTo>
                    <a:pt x="9991" y="114730"/>
                    <a:pt x="495504" y="0"/>
                    <a:pt x="849149" y="0"/>
                  </a:cubicBezTo>
                  <a:cubicBezTo>
                    <a:pt x="1248748" y="0"/>
                    <a:pt x="1660335" y="112785"/>
                    <a:pt x="1680316" y="567816"/>
                  </a:cubicBezTo>
                  <a:lnTo>
                    <a:pt x="1126870" y="567816"/>
                  </a:lnTo>
                  <a:cubicBezTo>
                    <a:pt x="1132861" y="508762"/>
                    <a:pt x="1106249" y="451042"/>
                    <a:pt x="1056941" y="416139"/>
                  </a:cubicBezTo>
                  <a:cubicBezTo>
                    <a:pt x="1002817" y="384359"/>
                    <a:pt x="940274" y="368803"/>
                    <a:pt x="877121" y="371414"/>
                  </a:cubicBezTo>
                  <a:cubicBezTo>
                    <a:pt x="779219" y="371414"/>
                    <a:pt x="623376" y="383081"/>
                    <a:pt x="623376" y="503645"/>
                  </a:cubicBezTo>
                  <a:cubicBezTo>
                    <a:pt x="623376" y="668934"/>
                    <a:pt x="1034962" y="698102"/>
                    <a:pt x="1306690" y="756440"/>
                  </a:cubicBezTo>
                  <a:cubicBezTo>
                    <a:pt x="1559004" y="782271"/>
                    <a:pt x="1753730" y="984205"/>
                    <a:pt x="1764232" y="1230916"/>
                  </a:cubicBezTo>
                  <a:cubicBezTo>
                    <a:pt x="1764232" y="1699558"/>
                    <a:pt x="1290706" y="1855124"/>
                    <a:pt x="883114" y="1855124"/>
                  </a:cubicBezTo>
                  <a:cubicBezTo>
                    <a:pt x="475523" y="1855124"/>
                    <a:pt x="17983" y="1717059"/>
                    <a:pt x="0" y="1227027"/>
                  </a:cubicBez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pic>
        <p:nvPicPr>
          <p:cNvPr id="54" name="Picture 53" descr="A picture containing shirt&#10;&#10;Description automatically generated">
            <a:extLst>
              <a:ext uri="{FF2B5EF4-FFF2-40B4-BE49-F238E27FC236}">
                <a16:creationId xmlns:a16="http://schemas.microsoft.com/office/drawing/2014/main" id="{E593A14A-13B5-4C2F-9BD7-1B009FBD8C2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87" y="113312"/>
            <a:ext cx="1951701" cy="791127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2AA4353A-03C0-4366-A6C1-7A73940A2EE8}"/>
              </a:ext>
            </a:extLst>
          </p:cNvPr>
          <p:cNvSpPr txBox="1"/>
          <p:nvPr userDrawn="1"/>
        </p:nvSpPr>
        <p:spPr>
          <a:xfrm>
            <a:off x="1811306" y="366549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FOR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635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4492916" y="2276871"/>
            <a:ext cx="7699084" cy="4581129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79375" y="1340768"/>
            <a:ext cx="5832649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lvl1pPr algn="l">
              <a:lnSpc>
                <a:spcPts val="3000"/>
              </a:lnSpc>
              <a:defRPr lang="en-US" sz="2800" b="1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375" y="2780928"/>
            <a:ext cx="58326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2" name="Graphic 5">
            <a:extLst>
              <a:ext uri="{FF2B5EF4-FFF2-40B4-BE49-F238E27FC236}">
                <a16:creationId xmlns:a16="http://schemas.microsoft.com/office/drawing/2014/main" id="{4B955C90-6C97-2B4A-B5D9-D5FCC02E6BEF}"/>
              </a:ext>
            </a:extLst>
          </p:cNvPr>
          <p:cNvSpPr/>
          <p:nvPr userDrawn="1"/>
        </p:nvSpPr>
        <p:spPr>
          <a:xfrm>
            <a:off x="6716638" y="116632"/>
            <a:ext cx="5428034" cy="6686708"/>
          </a:xfrm>
          <a:custGeom>
            <a:avLst/>
            <a:gdLst>
              <a:gd name="connsiteX0" fmla="*/ 346422 w 342900"/>
              <a:gd name="connsiteY0" fmla="*/ 30508 h 422413"/>
              <a:gd name="connsiteX1" fmla="*/ 346422 w 342900"/>
              <a:gd name="connsiteY1" fmla="*/ 0 h 422413"/>
              <a:gd name="connsiteX2" fmla="*/ 346422 w 342900"/>
              <a:gd name="connsiteY2" fmla="*/ 0 h 422413"/>
              <a:gd name="connsiteX3" fmla="*/ 240957 w 342900"/>
              <a:gd name="connsiteY3" fmla="*/ 147375 h 422413"/>
              <a:gd name="connsiteX4" fmla="*/ 135585 w 342900"/>
              <a:gd name="connsiteY4" fmla="*/ 0 h 422413"/>
              <a:gd name="connsiteX5" fmla="*/ 0 w 342900"/>
              <a:gd name="connsiteY5" fmla="*/ 426731 h 422413"/>
              <a:gd name="connsiteX6" fmla="*/ 0 w 342900"/>
              <a:gd name="connsiteY6" fmla="*/ 426731 h 422413"/>
              <a:gd name="connsiteX7" fmla="*/ 60239 w 342900"/>
              <a:gd name="connsiteY7" fmla="*/ 426731 h 422413"/>
              <a:gd name="connsiteX8" fmla="*/ 135585 w 342900"/>
              <a:gd name="connsiteY8" fmla="*/ 30132 h 422413"/>
              <a:gd name="connsiteX9" fmla="*/ 210837 w 342900"/>
              <a:gd name="connsiteY9" fmla="*/ 396223 h 422413"/>
              <a:gd name="connsiteX10" fmla="*/ 271076 w 342900"/>
              <a:gd name="connsiteY10" fmla="*/ 396223 h 422413"/>
              <a:gd name="connsiteX11" fmla="*/ 346422 w 342900"/>
              <a:gd name="connsiteY11" fmla="*/ 30132 h 422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42900" h="422413">
                <a:moveTo>
                  <a:pt x="346422" y="30508"/>
                </a:moveTo>
                <a:lnTo>
                  <a:pt x="346422" y="0"/>
                </a:lnTo>
                <a:lnTo>
                  <a:pt x="346422" y="0"/>
                </a:lnTo>
                <a:cubicBezTo>
                  <a:pt x="303791" y="0"/>
                  <a:pt x="265887" y="57448"/>
                  <a:pt x="240957" y="147375"/>
                </a:cubicBezTo>
                <a:cubicBezTo>
                  <a:pt x="216120" y="57448"/>
                  <a:pt x="178123" y="0"/>
                  <a:pt x="135585" y="0"/>
                </a:cubicBezTo>
                <a:cubicBezTo>
                  <a:pt x="60795" y="0"/>
                  <a:pt x="0" y="191025"/>
                  <a:pt x="0" y="426731"/>
                </a:cubicBezTo>
                <a:lnTo>
                  <a:pt x="0" y="426731"/>
                </a:lnTo>
                <a:lnTo>
                  <a:pt x="60239" y="426731"/>
                </a:lnTo>
                <a:cubicBezTo>
                  <a:pt x="60239" y="207733"/>
                  <a:pt x="93973" y="30132"/>
                  <a:pt x="135585" y="30132"/>
                </a:cubicBezTo>
                <a:cubicBezTo>
                  <a:pt x="177196" y="30132"/>
                  <a:pt x="210837" y="194028"/>
                  <a:pt x="210837" y="396223"/>
                </a:cubicBezTo>
                <a:lnTo>
                  <a:pt x="271076" y="396223"/>
                </a:lnTo>
                <a:cubicBezTo>
                  <a:pt x="271076" y="194028"/>
                  <a:pt x="304810" y="30132"/>
                  <a:pt x="346422" y="30132"/>
                </a:cubicBezTo>
                <a:close/>
              </a:path>
            </a:pathLst>
          </a:custGeom>
          <a:solidFill>
            <a:srgbClr val="FFBC0D"/>
          </a:solidFill>
          <a:ln w="9268" cap="flat">
            <a:noFill/>
            <a:prstDash val="solid"/>
            <a:miter/>
          </a:ln>
        </p:spPr>
        <p:txBody>
          <a:bodyPr rtlCol="0" anchor="ctr"/>
          <a:lstStyle/>
          <a:p>
            <a:endParaRPr lang="pl-PL"/>
          </a:p>
        </p:txBody>
      </p:sp>
      <p:grpSp>
        <p:nvGrpSpPr>
          <p:cNvPr id="29" name="Graphic 8">
            <a:extLst>
              <a:ext uri="{FF2B5EF4-FFF2-40B4-BE49-F238E27FC236}">
                <a16:creationId xmlns:a16="http://schemas.microsoft.com/office/drawing/2014/main" id="{27688665-BDDB-4F8C-B11B-F1D20077666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189689" y="377370"/>
            <a:ext cx="1547154" cy="184040"/>
            <a:chOff x="5664200" y="1340768"/>
            <a:chExt cx="17981972" cy="2139032"/>
          </a:xfrm>
          <a:solidFill>
            <a:srgbClr val="000000"/>
          </a:solidFill>
        </p:grpSpPr>
        <p:sp>
          <p:nvSpPr>
            <p:cNvPr id="30" name="Freeform 27">
              <a:extLst>
                <a:ext uri="{FF2B5EF4-FFF2-40B4-BE49-F238E27FC236}">
                  <a16:creationId xmlns:a16="http://schemas.microsoft.com/office/drawing/2014/main" id="{AB6EBDFF-C588-4DBE-9DD8-54674C78ED4A}"/>
                </a:ext>
              </a:extLst>
            </p:cNvPr>
            <p:cNvSpPr/>
            <p:nvPr/>
          </p:nvSpPr>
          <p:spPr>
            <a:xfrm>
              <a:off x="8644870" y="1684010"/>
              <a:ext cx="1798197" cy="1750117"/>
            </a:xfrm>
            <a:custGeom>
              <a:avLst/>
              <a:gdLst>
                <a:gd name="connsiteX0" fmla="*/ 1281057 w 1798197"/>
                <a:gd name="connsiteY0" fmla="*/ 693217 h 1750117"/>
                <a:gd name="connsiteX1" fmla="*/ 987352 w 1798197"/>
                <a:gd name="connsiteY1" fmla="*/ 434588 h 1750117"/>
                <a:gd name="connsiteX2" fmla="*/ 601738 w 1798197"/>
                <a:gd name="connsiteY2" fmla="*/ 951845 h 1750117"/>
                <a:gd name="connsiteX3" fmla="*/ 957381 w 1798197"/>
                <a:gd name="connsiteY3" fmla="*/ 1406876 h 1750117"/>
                <a:gd name="connsiteX4" fmla="*/ 1298555 w 1798197"/>
                <a:gd name="connsiteY4" fmla="*/ 1122384 h 1750117"/>
                <a:gd name="connsiteX5" fmla="*/ 1299039 w 1798197"/>
                <a:gd name="connsiteY5" fmla="*/ 1115189 h 1750117"/>
                <a:gd name="connsiteX6" fmla="*/ 1880456 w 1798197"/>
                <a:gd name="connsiteY6" fmla="*/ 1115189 h 1750117"/>
                <a:gd name="connsiteX7" fmla="*/ 959379 w 1798197"/>
                <a:gd name="connsiteY7" fmla="*/ 1854128 h 1750117"/>
                <a:gd name="connsiteX8" fmla="*/ 3708 w 1798197"/>
                <a:gd name="connsiteY8" fmla="*/ 1029520 h 1750117"/>
                <a:gd name="connsiteX9" fmla="*/ 2339 w 1798197"/>
                <a:gd name="connsiteY9" fmla="*/ 955734 h 1750117"/>
                <a:gd name="connsiteX10" fmla="*/ 852209 w 1798197"/>
                <a:gd name="connsiteY10" fmla="*/ 2239 h 1750117"/>
                <a:gd name="connsiteX11" fmla="*/ 959379 w 1798197"/>
                <a:gd name="connsiteY11" fmla="*/ 948 h 1750117"/>
                <a:gd name="connsiteX12" fmla="*/ 1862474 w 1798197"/>
                <a:gd name="connsiteY12" fmla="*/ 693217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8197" h="1750117">
                  <a:moveTo>
                    <a:pt x="1281057" y="693217"/>
                  </a:moveTo>
                  <a:cubicBezTo>
                    <a:pt x="1272452" y="543270"/>
                    <a:pt x="1141507" y="427964"/>
                    <a:pt x="987352" y="434588"/>
                  </a:cubicBezTo>
                  <a:cubicBezTo>
                    <a:pt x="653686" y="434588"/>
                    <a:pt x="601738" y="708773"/>
                    <a:pt x="601738" y="951845"/>
                  </a:cubicBezTo>
                  <a:cubicBezTo>
                    <a:pt x="601738" y="1194917"/>
                    <a:pt x="703636" y="1406876"/>
                    <a:pt x="957381" y="1406876"/>
                  </a:cubicBezTo>
                  <a:cubicBezTo>
                    <a:pt x="1132312" y="1420009"/>
                    <a:pt x="1285061" y="1292638"/>
                    <a:pt x="1298555" y="1122384"/>
                  </a:cubicBezTo>
                  <a:cubicBezTo>
                    <a:pt x="1298745" y="1119988"/>
                    <a:pt x="1298906" y="1117589"/>
                    <a:pt x="1299039" y="1115189"/>
                  </a:cubicBezTo>
                  <a:lnTo>
                    <a:pt x="1880456" y="1115189"/>
                  </a:lnTo>
                  <a:cubicBezTo>
                    <a:pt x="1826510" y="1583832"/>
                    <a:pt x="1446891" y="1854128"/>
                    <a:pt x="959379" y="1854128"/>
                  </a:cubicBezTo>
                  <a:cubicBezTo>
                    <a:pt x="461513" y="1883264"/>
                    <a:pt x="33645" y="1514074"/>
                    <a:pt x="3708" y="1029520"/>
                  </a:cubicBezTo>
                  <a:cubicBezTo>
                    <a:pt x="2191" y="1004954"/>
                    <a:pt x="1734" y="980337"/>
                    <a:pt x="2339" y="955734"/>
                  </a:cubicBezTo>
                  <a:cubicBezTo>
                    <a:pt x="-33510" y="464023"/>
                    <a:pt x="346990" y="37129"/>
                    <a:pt x="852209" y="2239"/>
                  </a:cubicBezTo>
                  <a:cubicBezTo>
                    <a:pt x="887876" y="-225"/>
                    <a:pt x="923660" y="-655"/>
                    <a:pt x="959379" y="948"/>
                  </a:cubicBezTo>
                  <a:cubicBezTo>
                    <a:pt x="1414923" y="948"/>
                    <a:pt x="1814522" y="240131"/>
                    <a:pt x="1862474" y="693217"/>
                  </a:cubicBez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4C1CF7F9-9FD7-4675-BCC6-8F897DCBAED2}"/>
                </a:ext>
              </a:extLst>
            </p:cNvPr>
            <p:cNvSpPr/>
            <p:nvPr/>
          </p:nvSpPr>
          <p:spPr>
            <a:xfrm>
              <a:off x="14874966" y="1682397"/>
              <a:ext cx="1798197" cy="1750117"/>
            </a:xfrm>
            <a:custGeom>
              <a:avLst/>
              <a:gdLst>
                <a:gd name="connsiteX0" fmla="*/ 9991 w 1798197"/>
                <a:gd name="connsiteY0" fmla="*/ 47285 h 1750117"/>
                <a:gd name="connsiteX1" fmla="*/ 589409 w 1798197"/>
                <a:gd name="connsiteY1" fmla="*/ 47285 h 1750117"/>
                <a:gd name="connsiteX2" fmla="*/ 589409 w 1798197"/>
                <a:gd name="connsiteY2" fmla="*/ 300080 h 1750117"/>
                <a:gd name="connsiteX3" fmla="*/ 589409 w 1798197"/>
                <a:gd name="connsiteY3" fmla="*/ 300080 h 1750117"/>
                <a:gd name="connsiteX4" fmla="*/ 1140856 w 1798197"/>
                <a:gd name="connsiteY4" fmla="*/ 616 h 1750117"/>
                <a:gd name="connsiteX5" fmla="*/ 1822174 w 1798197"/>
                <a:gd name="connsiteY5" fmla="*/ 679272 h 1750117"/>
                <a:gd name="connsiteX6" fmla="*/ 1822174 w 1798197"/>
                <a:gd name="connsiteY6" fmla="*/ 1797403 h 1750117"/>
                <a:gd name="connsiteX7" fmla="*/ 1222775 w 1798197"/>
                <a:gd name="connsiteY7" fmla="*/ 1797403 h 1750117"/>
                <a:gd name="connsiteX8" fmla="*/ 1222775 w 1798197"/>
                <a:gd name="connsiteY8" fmla="*/ 957346 h 1750117"/>
                <a:gd name="connsiteX9" fmla="*/ 923075 w 1798197"/>
                <a:gd name="connsiteY9" fmla="*/ 473147 h 1750117"/>
                <a:gd name="connsiteX10" fmla="*/ 599399 w 1798197"/>
                <a:gd name="connsiteY10" fmla="*/ 895120 h 1750117"/>
                <a:gd name="connsiteX11" fmla="*/ 599399 w 1798197"/>
                <a:gd name="connsiteY11" fmla="*/ 1797403 h 1750117"/>
                <a:gd name="connsiteX12" fmla="*/ 0 w 1798197"/>
                <a:gd name="connsiteY12" fmla="*/ 1797403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8197" h="1750117">
                  <a:moveTo>
                    <a:pt x="9991" y="47285"/>
                  </a:moveTo>
                  <a:lnTo>
                    <a:pt x="589409" y="47285"/>
                  </a:lnTo>
                  <a:lnTo>
                    <a:pt x="589409" y="300080"/>
                  </a:lnTo>
                  <a:lnTo>
                    <a:pt x="589409" y="300080"/>
                  </a:lnTo>
                  <a:cubicBezTo>
                    <a:pt x="699916" y="106473"/>
                    <a:pt x="913537" y="-9534"/>
                    <a:pt x="1140856" y="616"/>
                  </a:cubicBezTo>
                  <a:cubicBezTo>
                    <a:pt x="1740256" y="616"/>
                    <a:pt x="1822174" y="426477"/>
                    <a:pt x="1822174" y="679272"/>
                  </a:cubicBezTo>
                  <a:lnTo>
                    <a:pt x="1822174" y="1797403"/>
                  </a:lnTo>
                  <a:lnTo>
                    <a:pt x="1222775" y="1797403"/>
                  </a:lnTo>
                  <a:lnTo>
                    <a:pt x="1222775" y="957346"/>
                  </a:lnTo>
                  <a:cubicBezTo>
                    <a:pt x="1222775" y="718164"/>
                    <a:pt x="1234762" y="473147"/>
                    <a:pt x="923075" y="473147"/>
                  </a:cubicBezTo>
                  <a:cubicBezTo>
                    <a:pt x="723275" y="473147"/>
                    <a:pt x="599399" y="638436"/>
                    <a:pt x="599399" y="895120"/>
                  </a:cubicBezTo>
                  <a:lnTo>
                    <a:pt x="599399" y="1797403"/>
                  </a:lnTo>
                  <a:lnTo>
                    <a:pt x="0" y="1797403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6B907CC2-AF31-4D77-8F39-FF2F3FA8BFD6}"/>
                </a:ext>
              </a:extLst>
            </p:cNvPr>
            <p:cNvSpPr/>
            <p:nvPr/>
          </p:nvSpPr>
          <p:spPr>
            <a:xfrm>
              <a:off x="16836998" y="1682369"/>
              <a:ext cx="1798197" cy="1750117"/>
            </a:xfrm>
            <a:custGeom>
              <a:avLst/>
              <a:gdLst>
                <a:gd name="connsiteX0" fmla="*/ 67932 w 1798197"/>
                <a:gd name="connsiteY0" fmla="*/ 591795 h 1750117"/>
                <a:gd name="connsiteX1" fmla="*/ 353646 w 1798197"/>
                <a:gd name="connsiteY1" fmla="*/ 123152 h 1750117"/>
                <a:gd name="connsiteX2" fmla="*/ 935063 w 1798197"/>
                <a:gd name="connsiteY2" fmla="*/ 644 h 1750117"/>
                <a:gd name="connsiteX3" fmla="*/ 1786210 w 1798197"/>
                <a:gd name="connsiteY3" fmla="*/ 584016 h 1750117"/>
                <a:gd name="connsiteX4" fmla="*/ 1786210 w 1798197"/>
                <a:gd name="connsiteY4" fmla="*/ 1356012 h 1750117"/>
                <a:gd name="connsiteX5" fmla="*/ 1858138 w 1798197"/>
                <a:gd name="connsiteY5" fmla="*/ 1797431 h 1750117"/>
                <a:gd name="connsiteX6" fmla="*/ 1258739 w 1798197"/>
                <a:gd name="connsiteY6" fmla="*/ 1797431 h 1750117"/>
                <a:gd name="connsiteX7" fmla="*/ 1222775 w 1798197"/>
                <a:gd name="connsiteY7" fmla="*/ 1632142 h 1750117"/>
                <a:gd name="connsiteX8" fmla="*/ 623376 w 1798197"/>
                <a:gd name="connsiteY8" fmla="*/ 1847990 h 1750117"/>
                <a:gd name="connsiteX9" fmla="*/ 0 w 1798197"/>
                <a:gd name="connsiteY9" fmla="*/ 1317121 h 1750117"/>
                <a:gd name="connsiteX10" fmla="*/ 1062935 w 1798197"/>
                <a:gd name="connsiteY10" fmla="*/ 710414 h 1750117"/>
                <a:gd name="connsiteX11" fmla="*/ 1222775 w 1798197"/>
                <a:gd name="connsiteY11" fmla="*/ 547069 h 1750117"/>
                <a:gd name="connsiteX12" fmla="*/ 933065 w 1798197"/>
                <a:gd name="connsiteY12" fmla="*/ 366224 h 1750117"/>
                <a:gd name="connsiteX13" fmla="*/ 633365 w 1798197"/>
                <a:gd name="connsiteY13" fmla="*/ 584016 h 1750117"/>
                <a:gd name="connsiteX14" fmla="*/ 843155 w 1798197"/>
                <a:gd name="connsiteY14" fmla="*/ 1499911 h 1750117"/>
                <a:gd name="connsiteX15" fmla="*/ 1208789 w 1798197"/>
                <a:gd name="connsiteY15" fmla="*/ 984599 h 1750117"/>
                <a:gd name="connsiteX16" fmla="*/ 839160 w 1798197"/>
                <a:gd name="connsiteY16" fmla="*/ 1077938 h 1750117"/>
                <a:gd name="connsiteX17" fmla="*/ 593405 w 1798197"/>
                <a:gd name="connsiteY17" fmla="*/ 1301564 h 1750117"/>
                <a:gd name="connsiteX18" fmla="*/ 843155 w 1798197"/>
                <a:gd name="connsiteY18" fmla="*/ 1496022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98197" h="1750117">
                  <a:moveTo>
                    <a:pt x="67932" y="591795"/>
                  </a:moveTo>
                  <a:cubicBezTo>
                    <a:pt x="68543" y="396642"/>
                    <a:pt x="177947" y="217193"/>
                    <a:pt x="353646" y="123152"/>
                  </a:cubicBezTo>
                  <a:cubicBezTo>
                    <a:pt x="534107" y="36279"/>
                    <a:pt x="733842" y="-5806"/>
                    <a:pt x="935063" y="644"/>
                  </a:cubicBezTo>
                  <a:cubicBezTo>
                    <a:pt x="1366630" y="644"/>
                    <a:pt x="1786210" y="92039"/>
                    <a:pt x="1786210" y="584016"/>
                  </a:cubicBezTo>
                  <a:lnTo>
                    <a:pt x="1786210" y="1356012"/>
                  </a:lnTo>
                  <a:cubicBezTo>
                    <a:pt x="1775222" y="1506568"/>
                    <a:pt x="1799827" y="1657572"/>
                    <a:pt x="1858138" y="1797431"/>
                  </a:cubicBezTo>
                  <a:lnTo>
                    <a:pt x="1258739" y="1797431"/>
                  </a:lnTo>
                  <a:cubicBezTo>
                    <a:pt x="1239900" y="1743960"/>
                    <a:pt x="1227823" y="1688455"/>
                    <a:pt x="1222775" y="1632142"/>
                  </a:cubicBezTo>
                  <a:cubicBezTo>
                    <a:pt x="1060166" y="1778408"/>
                    <a:pt x="844642" y="1856020"/>
                    <a:pt x="623376" y="1847990"/>
                  </a:cubicBezTo>
                  <a:cubicBezTo>
                    <a:pt x="273726" y="1847990"/>
                    <a:pt x="0" y="1678812"/>
                    <a:pt x="0" y="1317121"/>
                  </a:cubicBezTo>
                  <a:cubicBezTo>
                    <a:pt x="0" y="747361"/>
                    <a:pt x="647351" y="790141"/>
                    <a:pt x="1062935" y="710414"/>
                  </a:cubicBezTo>
                  <a:cubicBezTo>
                    <a:pt x="1164833" y="689023"/>
                    <a:pt x="1222775" y="655966"/>
                    <a:pt x="1222775" y="547069"/>
                  </a:cubicBezTo>
                  <a:cubicBezTo>
                    <a:pt x="1222775" y="438173"/>
                    <a:pt x="1056941" y="366224"/>
                    <a:pt x="933065" y="366224"/>
                  </a:cubicBezTo>
                  <a:cubicBezTo>
                    <a:pt x="788695" y="346522"/>
                    <a:pt x="654972" y="443699"/>
                    <a:pt x="633365" y="584016"/>
                  </a:cubicBezTo>
                  <a:close/>
                  <a:moveTo>
                    <a:pt x="843155" y="1499911"/>
                  </a:moveTo>
                  <a:cubicBezTo>
                    <a:pt x="1126871" y="1499911"/>
                    <a:pt x="1222775" y="1346290"/>
                    <a:pt x="1208789" y="984599"/>
                  </a:cubicBezTo>
                  <a:cubicBezTo>
                    <a:pt x="1089639" y="1029330"/>
                    <a:pt x="965624" y="1060647"/>
                    <a:pt x="839160" y="1077938"/>
                  </a:cubicBezTo>
                  <a:cubicBezTo>
                    <a:pt x="705293" y="1109052"/>
                    <a:pt x="593405" y="1163500"/>
                    <a:pt x="593405" y="1301564"/>
                  </a:cubicBezTo>
                  <a:cubicBezTo>
                    <a:pt x="593405" y="1439629"/>
                    <a:pt x="709290" y="1496022"/>
                    <a:pt x="843155" y="1496022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D15D9311-7234-437D-B9E3-FB5DB20BDCE7}"/>
                </a:ext>
              </a:extLst>
            </p:cNvPr>
            <p:cNvSpPr/>
            <p:nvPr/>
          </p:nvSpPr>
          <p:spPr>
            <a:xfrm>
              <a:off x="18819012" y="1344657"/>
              <a:ext cx="599399" cy="2139032"/>
            </a:xfrm>
            <a:custGeom>
              <a:avLst/>
              <a:gdLst>
                <a:gd name="connsiteX0" fmla="*/ -1 w 599399"/>
                <a:gd name="connsiteY0" fmla="*/ 0 h 2139032"/>
                <a:gd name="connsiteX1" fmla="*/ 599398 w 599399"/>
                <a:gd name="connsiteY1" fmla="*/ 0 h 2139032"/>
                <a:gd name="connsiteX2" fmla="*/ 599398 w 599399"/>
                <a:gd name="connsiteY2" fmla="*/ 2142921 h 2139032"/>
                <a:gd name="connsiteX3" fmla="*/ -1 w 599399"/>
                <a:gd name="connsiteY3" fmla="*/ 2142921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9399" h="2139032">
                  <a:moveTo>
                    <a:pt x="-1" y="0"/>
                  </a:moveTo>
                  <a:lnTo>
                    <a:pt x="599398" y="0"/>
                  </a:lnTo>
                  <a:lnTo>
                    <a:pt x="599398" y="2142921"/>
                  </a:lnTo>
                  <a:lnTo>
                    <a:pt x="-1" y="2142921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7C6070DD-6FE0-41A7-9164-296B356E0680}"/>
                </a:ext>
              </a:extLst>
            </p:cNvPr>
            <p:cNvSpPr/>
            <p:nvPr/>
          </p:nvSpPr>
          <p:spPr>
            <a:xfrm>
              <a:off x="19550279" y="1340768"/>
              <a:ext cx="1798197" cy="2139032"/>
            </a:xfrm>
            <a:custGeom>
              <a:avLst/>
              <a:gdLst>
                <a:gd name="connsiteX0" fmla="*/ 1898097 w 1798197"/>
                <a:gd name="connsiteY0" fmla="*/ 2139032 h 2139032"/>
                <a:gd name="connsiteX1" fmla="*/ 1320676 w 1798197"/>
                <a:gd name="connsiteY1" fmla="*/ 2139032 h 2139032"/>
                <a:gd name="connsiteX2" fmla="*/ 1320676 w 1798197"/>
                <a:gd name="connsiteY2" fmla="*/ 1944575 h 2139032"/>
                <a:gd name="connsiteX3" fmla="*/ 1320676 w 1798197"/>
                <a:gd name="connsiteY3" fmla="*/ 1944575 h 2139032"/>
                <a:gd name="connsiteX4" fmla="*/ 817182 w 1798197"/>
                <a:gd name="connsiteY4" fmla="*/ 2199314 h 2139032"/>
                <a:gd name="connsiteX5" fmla="*/ 0 w 1798197"/>
                <a:gd name="connsiteY5" fmla="*/ 1227027 h 2139032"/>
                <a:gd name="connsiteX6" fmla="*/ 771227 w 1798197"/>
                <a:gd name="connsiteY6" fmla="*/ 338356 h 2139032"/>
                <a:gd name="connsiteX7" fmla="*/ 1284712 w 1798197"/>
                <a:gd name="connsiteY7" fmla="*/ 583372 h 2139032"/>
                <a:gd name="connsiteX8" fmla="*/ 1284712 w 1798197"/>
                <a:gd name="connsiteY8" fmla="*/ 583372 h 2139032"/>
                <a:gd name="connsiteX9" fmla="*/ 1284712 w 1798197"/>
                <a:gd name="connsiteY9" fmla="*/ 0 h 2139032"/>
                <a:gd name="connsiteX10" fmla="*/ 1884111 w 1798197"/>
                <a:gd name="connsiteY10" fmla="*/ 0 h 2139032"/>
                <a:gd name="connsiteX11" fmla="*/ 597401 w 1798197"/>
                <a:gd name="connsiteY11" fmla="*/ 1244528 h 2139032"/>
                <a:gd name="connsiteX12" fmla="*/ 965033 w 1798197"/>
                <a:gd name="connsiteY12" fmla="*/ 1750117 h 2139032"/>
                <a:gd name="connsiteX13" fmla="*/ 1320676 w 1798197"/>
                <a:gd name="connsiteY13" fmla="*/ 1260084 h 2139032"/>
                <a:gd name="connsiteX14" fmla="*/ 959039 w 1798197"/>
                <a:gd name="connsiteY14" fmla="*/ 777830 h 2139032"/>
                <a:gd name="connsiteX15" fmla="*/ 591407 w 1798197"/>
                <a:gd name="connsiteY15" fmla="*/ 1248417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98197" h="2139032">
                  <a:moveTo>
                    <a:pt x="1898097" y="2139032"/>
                  </a:moveTo>
                  <a:lnTo>
                    <a:pt x="1320676" y="2139032"/>
                  </a:lnTo>
                  <a:lnTo>
                    <a:pt x="1320676" y="1944575"/>
                  </a:lnTo>
                  <a:lnTo>
                    <a:pt x="1320676" y="1944575"/>
                  </a:lnTo>
                  <a:cubicBezTo>
                    <a:pt x="1209173" y="2108272"/>
                    <a:pt x="1018907" y="2204536"/>
                    <a:pt x="817182" y="2199314"/>
                  </a:cubicBezTo>
                  <a:cubicBezTo>
                    <a:pt x="241757" y="2199314"/>
                    <a:pt x="0" y="1726782"/>
                    <a:pt x="0" y="1227027"/>
                  </a:cubicBezTo>
                  <a:cubicBezTo>
                    <a:pt x="0" y="771996"/>
                    <a:pt x="251748" y="338356"/>
                    <a:pt x="771227" y="338356"/>
                  </a:cubicBezTo>
                  <a:cubicBezTo>
                    <a:pt x="973505" y="332283"/>
                    <a:pt x="1165764" y="424022"/>
                    <a:pt x="1284712" y="583372"/>
                  </a:cubicBezTo>
                  <a:lnTo>
                    <a:pt x="1284712" y="583372"/>
                  </a:lnTo>
                  <a:lnTo>
                    <a:pt x="1284712" y="0"/>
                  </a:lnTo>
                  <a:lnTo>
                    <a:pt x="1884111" y="0"/>
                  </a:lnTo>
                  <a:close/>
                  <a:moveTo>
                    <a:pt x="597401" y="1244528"/>
                  </a:moveTo>
                  <a:cubicBezTo>
                    <a:pt x="597401" y="1483710"/>
                    <a:pt x="689308" y="1750117"/>
                    <a:pt x="965033" y="1750117"/>
                  </a:cubicBezTo>
                  <a:cubicBezTo>
                    <a:pt x="1240756" y="1750117"/>
                    <a:pt x="1320676" y="1483710"/>
                    <a:pt x="1320676" y="1260084"/>
                  </a:cubicBezTo>
                  <a:cubicBezTo>
                    <a:pt x="1320676" y="1036458"/>
                    <a:pt x="1218778" y="777830"/>
                    <a:pt x="959039" y="777830"/>
                  </a:cubicBezTo>
                  <a:cubicBezTo>
                    <a:pt x="699299" y="777830"/>
                    <a:pt x="591407" y="1024791"/>
                    <a:pt x="591407" y="1248417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B6603731-F2E3-44E6-9CA7-A0942504ED69}"/>
                </a:ext>
              </a:extLst>
            </p:cNvPr>
            <p:cNvSpPr/>
            <p:nvPr/>
          </p:nvSpPr>
          <p:spPr>
            <a:xfrm>
              <a:off x="21566257" y="1344657"/>
              <a:ext cx="399599" cy="388915"/>
            </a:xfrm>
            <a:custGeom>
              <a:avLst/>
              <a:gdLst>
                <a:gd name="connsiteX0" fmla="*/ 281718 w 399599"/>
                <a:gd name="connsiteY0" fmla="*/ 579483 h 388914"/>
                <a:gd name="connsiteX1" fmla="*/ 0 w 399599"/>
                <a:gd name="connsiteY1" fmla="*/ 579483 h 388914"/>
                <a:gd name="connsiteX2" fmla="*/ 0 w 399599"/>
                <a:gd name="connsiteY2" fmla="*/ 0 h 388914"/>
                <a:gd name="connsiteX3" fmla="*/ 561438 w 399599"/>
                <a:gd name="connsiteY3" fmla="*/ 0 h 388914"/>
                <a:gd name="connsiteX4" fmla="*/ 281718 w 399599"/>
                <a:gd name="connsiteY4" fmla="*/ 579483 h 38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599" h="388914">
                  <a:moveTo>
                    <a:pt x="281718" y="579483"/>
                  </a:moveTo>
                  <a:lnTo>
                    <a:pt x="0" y="579483"/>
                  </a:lnTo>
                  <a:lnTo>
                    <a:pt x="0" y="0"/>
                  </a:lnTo>
                  <a:lnTo>
                    <a:pt x="561438" y="0"/>
                  </a:lnTo>
                  <a:lnTo>
                    <a:pt x="281718" y="579483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EBCA62B1-2A76-4CA6-BA12-41E17792D13C}"/>
                </a:ext>
              </a:extLst>
            </p:cNvPr>
            <p:cNvSpPr/>
            <p:nvPr/>
          </p:nvSpPr>
          <p:spPr>
            <a:xfrm>
              <a:off x="10659192" y="1340768"/>
              <a:ext cx="1997997" cy="2139032"/>
            </a:xfrm>
            <a:custGeom>
              <a:avLst/>
              <a:gdLst>
                <a:gd name="connsiteX0" fmla="*/ 951047 w 1997996"/>
                <a:gd name="connsiteY0" fmla="*/ 0 h 2139032"/>
                <a:gd name="connsiteX1" fmla="*/ 0 w 1997996"/>
                <a:gd name="connsiteY1" fmla="*/ 0 h 2139032"/>
                <a:gd name="connsiteX2" fmla="*/ 0 w 1997996"/>
                <a:gd name="connsiteY2" fmla="*/ 2139032 h 2139032"/>
                <a:gd name="connsiteX3" fmla="*/ 961036 w 1997996"/>
                <a:gd name="connsiteY3" fmla="*/ 2139032 h 2139032"/>
                <a:gd name="connsiteX4" fmla="*/ 2057937 w 1997996"/>
                <a:gd name="connsiteY4" fmla="*/ 1057849 h 2139032"/>
                <a:gd name="connsiteX5" fmla="*/ 951047 w 1997996"/>
                <a:gd name="connsiteY5" fmla="*/ 0 h 2139032"/>
                <a:gd name="connsiteX6" fmla="*/ 897101 w 1997996"/>
                <a:gd name="connsiteY6" fmla="*/ 1645110 h 2139032"/>
                <a:gd name="connsiteX7" fmla="*/ 629369 w 1997996"/>
                <a:gd name="connsiteY7" fmla="*/ 1645110 h 2139032"/>
                <a:gd name="connsiteX8" fmla="*/ 629369 w 1997996"/>
                <a:gd name="connsiteY8" fmla="*/ 499756 h 2139032"/>
                <a:gd name="connsiteX9" fmla="*/ 897101 w 1997996"/>
                <a:gd name="connsiteY9" fmla="*/ 499756 h 2139032"/>
                <a:gd name="connsiteX10" fmla="*/ 1400596 w 1997996"/>
                <a:gd name="connsiteY10" fmla="*/ 1063682 h 2139032"/>
                <a:gd name="connsiteX11" fmla="*/ 897101 w 1997996"/>
                <a:gd name="connsiteY11" fmla="*/ 1647055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7996" h="2139032">
                  <a:moveTo>
                    <a:pt x="951047" y="0"/>
                  </a:moveTo>
                  <a:lnTo>
                    <a:pt x="0" y="0"/>
                  </a:lnTo>
                  <a:lnTo>
                    <a:pt x="0" y="2139032"/>
                  </a:lnTo>
                  <a:lnTo>
                    <a:pt x="961036" y="2139032"/>
                  </a:lnTo>
                  <a:cubicBezTo>
                    <a:pt x="1640355" y="2139032"/>
                    <a:pt x="2057937" y="1759840"/>
                    <a:pt x="2057937" y="1057849"/>
                  </a:cubicBezTo>
                  <a:cubicBezTo>
                    <a:pt x="2047947" y="402527"/>
                    <a:pt x="1636359" y="0"/>
                    <a:pt x="951047" y="0"/>
                  </a:cubicBezTo>
                  <a:moveTo>
                    <a:pt x="897101" y="1645110"/>
                  </a:moveTo>
                  <a:lnTo>
                    <a:pt x="629369" y="1645110"/>
                  </a:lnTo>
                  <a:lnTo>
                    <a:pt x="629369" y="499756"/>
                  </a:lnTo>
                  <a:lnTo>
                    <a:pt x="897101" y="499756"/>
                  </a:lnTo>
                  <a:cubicBezTo>
                    <a:pt x="1244752" y="499756"/>
                    <a:pt x="1400596" y="723382"/>
                    <a:pt x="1400596" y="1063682"/>
                  </a:cubicBezTo>
                  <a:cubicBezTo>
                    <a:pt x="1400596" y="1438985"/>
                    <a:pt x="1274722" y="1647055"/>
                    <a:pt x="897101" y="1647055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D7A76306-CEB9-4F80-806D-C71E50A0E003}"/>
                </a:ext>
              </a:extLst>
            </p:cNvPr>
            <p:cNvSpPr/>
            <p:nvPr/>
          </p:nvSpPr>
          <p:spPr>
            <a:xfrm>
              <a:off x="5664200" y="1340768"/>
              <a:ext cx="2996995" cy="2139032"/>
            </a:xfrm>
            <a:custGeom>
              <a:avLst/>
              <a:gdLst>
                <a:gd name="connsiteX0" fmla="*/ 1842153 w 2996995"/>
                <a:gd name="connsiteY0" fmla="*/ 2139032 h 2139032"/>
                <a:gd name="connsiteX1" fmla="*/ 2081913 w 2996995"/>
                <a:gd name="connsiteY1" fmla="*/ 1279530 h 2139032"/>
                <a:gd name="connsiteX2" fmla="*/ 2145849 w 2996995"/>
                <a:gd name="connsiteY2" fmla="*/ 1003400 h 2139032"/>
                <a:gd name="connsiteX3" fmla="*/ 2145849 w 2996995"/>
                <a:gd name="connsiteY3" fmla="*/ 1003400 h 2139032"/>
                <a:gd name="connsiteX4" fmla="*/ 2193801 w 2996995"/>
                <a:gd name="connsiteY4" fmla="*/ 1285364 h 2139032"/>
                <a:gd name="connsiteX5" fmla="*/ 2369624 w 2996995"/>
                <a:gd name="connsiteY5" fmla="*/ 2139032 h 2139032"/>
                <a:gd name="connsiteX6" fmla="*/ 3028963 w 2996995"/>
                <a:gd name="connsiteY6" fmla="*/ 2139032 h 2139032"/>
                <a:gd name="connsiteX7" fmla="*/ 2565428 w 2996995"/>
                <a:gd name="connsiteY7" fmla="*/ 0 h 2139032"/>
                <a:gd name="connsiteX8" fmla="*/ 1868127 w 2996995"/>
                <a:gd name="connsiteY8" fmla="*/ 0 h 2139032"/>
                <a:gd name="connsiteX9" fmla="*/ 1598398 w 2996995"/>
                <a:gd name="connsiteY9" fmla="*/ 1079239 h 2139032"/>
                <a:gd name="connsiteX10" fmla="*/ 1518478 w 2996995"/>
                <a:gd name="connsiteY10" fmla="*/ 1361202 h 2139032"/>
                <a:gd name="connsiteX11" fmla="*/ 1518478 w 2996995"/>
                <a:gd name="connsiteY11" fmla="*/ 1361202 h 2139032"/>
                <a:gd name="connsiteX12" fmla="*/ 1440556 w 2996995"/>
                <a:gd name="connsiteY12" fmla="*/ 1079239 h 2139032"/>
                <a:gd name="connsiteX13" fmla="*/ 1160836 w 2996995"/>
                <a:gd name="connsiteY13" fmla="*/ 0 h 2139032"/>
                <a:gd name="connsiteX14" fmla="*/ 461537 w 2996995"/>
                <a:gd name="connsiteY14" fmla="*/ 0 h 2139032"/>
                <a:gd name="connsiteX15" fmla="*/ 0 w 2996995"/>
                <a:gd name="connsiteY15" fmla="*/ 2139032 h 2139032"/>
                <a:gd name="connsiteX16" fmla="*/ 659339 w 2996995"/>
                <a:gd name="connsiteY16" fmla="*/ 2139032 h 2139032"/>
                <a:gd name="connsiteX17" fmla="*/ 829169 w 2996995"/>
                <a:gd name="connsiteY17" fmla="*/ 1285364 h 2139032"/>
                <a:gd name="connsiteX18" fmla="*/ 875123 w 2996995"/>
                <a:gd name="connsiteY18" fmla="*/ 1003400 h 2139032"/>
                <a:gd name="connsiteX19" fmla="*/ 875123 w 2996995"/>
                <a:gd name="connsiteY19" fmla="*/ 1003400 h 2139032"/>
                <a:gd name="connsiteX20" fmla="*/ 939059 w 2996995"/>
                <a:gd name="connsiteY20" fmla="*/ 1279530 h 2139032"/>
                <a:gd name="connsiteX21" fmla="*/ 1186810 w 2996995"/>
                <a:gd name="connsiteY21" fmla="*/ 2139032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96995" h="2139032">
                  <a:moveTo>
                    <a:pt x="1842153" y="2139032"/>
                  </a:moveTo>
                  <a:lnTo>
                    <a:pt x="2081913" y="1279530"/>
                  </a:lnTo>
                  <a:cubicBezTo>
                    <a:pt x="2107887" y="1178412"/>
                    <a:pt x="2135859" y="1061738"/>
                    <a:pt x="2145849" y="1003400"/>
                  </a:cubicBezTo>
                  <a:lnTo>
                    <a:pt x="2145849" y="1003400"/>
                  </a:lnTo>
                  <a:cubicBezTo>
                    <a:pt x="2145849" y="1048126"/>
                    <a:pt x="2169825" y="1176468"/>
                    <a:pt x="2193801" y="1285364"/>
                  </a:cubicBezTo>
                  <a:lnTo>
                    <a:pt x="2369624" y="2139032"/>
                  </a:lnTo>
                  <a:lnTo>
                    <a:pt x="3028963" y="2139032"/>
                  </a:lnTo>
                  <a:lnTo>
                    <a:pt x="2565428" y="0"/>
                  </a:lnTo>
                  <a:lnTo>
                    <a:pt x="1868127" y="0"/>
                  </a:lnTo>
                  <a:lnTo>
                    <a:pt x="1598398" y="1079239"/>
                  </a:lnTo>
                  <a:cubicBezTo>
                    <a:pt x="1564432" y="1166745"/>
                    <a:pt x="1534462" y="1297031"/>
                    <a:pt x="1518478" y="1361202"/>
                  </a:cubicBezTo>
                  <a:lnTo>
                    <a:pt x="1518478" y="1361202"/>
                  </a:lnTo>
                  <a:cubicBezTo>
                    <a:pt x="1492504" y="1297031"/>
                    <a:pt x="1464532" y="1166745"/>
                    <a:pt x="1440556" y="1079239"/>
                  </a:cubicBezTo>
                  <a:lnTo>
                    <a:pt x="1160836" y="0"/>
                  </a:lnTo>
                  <a:lnTo>
                    <a:pt x="461537" y="0"/>
                  </a:lnTo>
                  <a:lnTo>
                    <a:pt x="0" y="2139032"/>
                  </a:lnTo>
                  <a:lnTo>
                    <a:pt x="659339" y="2139032"/>
                  </a:lnTo>
                  <a:lnTo>
                    <a:pt x="829169" y="1285364"/>
                  </a:lnTo>
                  <a:cubicBezTo>
                    <a:pt x="851147" y="1176468"/>
                    <a:pt x="869129" y="1048126"/>
                    <a:pt x="875123" y="1003400"/>
                  </a:cubicBezTo>
                  <a:lnTo>
                    <a:pt x="875123" y="1003400"/>
                  </a:lnTo>
                  <a:cubicBezTo>
                    <a:pt x="875123" y="1061738"/>
                    <a:pt x="911087" y="1178412"/>
                    <a:pt x="939059" y="1279530"/>
                  </a:cubicBezTo>
                  <a:lnTo>
                    <a:pt x="1186810" y="2139032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A4FA6A9E-A944-468F-B826-5C0299644E90}"/>
                </a:ext>
              </a:extLst>
            </p:cNvPr>
            <p:cNvSpPr/>
            <p:nvPr/>
          </p:nvSpPr>
          <p:spPr>
            <a:xfrm>
              <a:off x="12830059" y="1683552"/>
              <a:ext cx="1798197" cy="1750117"/>
            </a:xfrm>
            <a:custGeom>
              <a:avLst/>
              <a:gdLst>
                <a:gd name="connsiteX0" fmla="*/ 963990 w 1798197"/>
                <a:gd name="connsiteY0" fmla="*/ 1406 h 1750117"/>
                <a:gd name="connsiteX1" fmla="*/ 1436 w 1798197"/>
                <a:gd name="connsiteY1" fmla="*/ 839168 h 1750117"/>
                <a:gd name="connsiteX2" fmla="*/ 956 w 1798197"/>
                <a:gd name="connsiteY2" fmla="*/ 928968 h 1750117"/>
                <a:gd name="connsiteX3" fmla="*/ 871723 w 1798197"/>
                <a:gd name="connsiteY3" fmla="*/ 1856998 h 1750117"/>
                <a:gd name="connsiteX4" fmla="*/ 963991 w 1798197"/>
                <a:gd name="connsiteY4" fmla="*/ 1856530 h 1750117"/>
                <a:gd name="connsiteX5" fmla="*/ 1924651 w 1798197"/>
                <a:gd name="connsiteY5" fmla="*/ 1016712 h 1750117"/>
                <a:gd name="connsiteX6" fmla="*/ 1925028 w 1798197"/>
                <a:gd name="connsiteY6" fmla="*/ 928968 h 1750117"/>
                <a:gd name="connsiteX7" fmla="*/ 1054145 w 1798197"/>
                <a:gd name="connsiteY7" fmla="*/ 1039 h 1750117"/>
                <a:gd name="connsiteX8" fmla="*/ 963991 w 1798197"/>
                <a:gd name="connsiteY8" fmla="*/ 1406 h 1750117"/>
                <a:gd name="connsiteX9" fmla="*/ 963990 w 1798197"/>
                <a:gd name="connsiteY9" fmla="*/ 1419001 h 1750117"/>
                <a:gd name="connsiteX10" fmla="*/ 600355 w 1798197"/>
                <a:gd name="connsiteY10" fmla="*/ 928968 h 1750117"/>
                <a:gd name="connsiteX11" fmla="*/ 963990 w 1798197"/>
                <a:gd name="connsiteY11" fmla="*/ 435046 h 1750117"/>
                <a:gd name="connsiteX12" fmla="*/ 1325628 w 1798197"/>
                <a:gd name="connsiteY12" fmla="*/ 928968 h 1750117"/>
                <a:gd name="connsiteX13" fmla="*/ 963990 w 1798197"/>
                <a:gd name="connsiteY13" fmla="*/ 1419001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98197" h="1750117">
                  <a:moveTo>
                    <a:pt x="963990" y="1406"/>
                  </a:moveTo>
                  <a:cubicBezTo>
                    <a:pt x="460491" y="-25947"/>
                    <a:pt x="29541" y="349132"/>
                    <a:pt x="1436" y="839168"/>
                  </a:cubicBezTo>
                  <a:cubicBezTo>
                    <a:pt x="-278" y="869074"/>
                    <a:pt x="-439" y="899046"/>
                    <a:pt x="956" y="928968"/>
                  </a:cubicBezTo>
                  <a:cubicBezTo>
                    <a:pt x="-21898" y="1419263"/>
                    <a:pt x="367958" y="1834756"/>
                    <a:pt x="871723" y="1856998"/>
                  </a:cubicBezTo>
                  <a:cubicBezTo>
                    <a:pt x="902467" y="1858356"/>
                    <a:pt x="933262" y="1858199"/>
                    <a:pt x="963991" y="1856530"/>
                  </a:cubicBezTo>
                  <a:cubicBezTo>
                    <a:pt x="1467550" y="1882807"/>
                    <a:pt x="1897653" y="1506807"/>
                    <a:pt x="1924651" y="1016712"/>
                  </a:cubicBezTo>
                  <a:cubicBezTo>
                    <a:pt x="1926261" y="987488"/>
                    <a:pt x="1926387" y="958204"/>
                    <a:pt x="1925028" y="928968"/>
                  </a:cubicBezTo>
                  <a:cubicBezTo>
                    <a:pt x="1947820" y="438670"/>
                    <a:pt x="1557913" y="23223"/>
                    <a:pt x="1054145" y="1039"/>
                  </a:cubicBezTo>
                  <a:cubicBezTo>
                    <a:pt x="1024106" y="-283"/>
                    <a:pt x="994018" y="-161"/>
                    <a:pt x="963991" y="1406"/>
                  </a:cubicBezTo>
                  <a:moveTo>
                    <a:pt x="963990" y="1419001"/>
                  </a:moveTo>
                  <a:cubicBezTo>
                    <a:pt x="704251" y="1419001"/>
                    <a:pt x="600355" y="1208987"/>
                    <a:pt x="600355" y="928968"/>
                  </a:cubicBezTo>
                  <a:cubicBezTo>
                    <a:pt x="600355" y="648949"/>
                    <a:pt x="704251" y="435046"/>
                    <a:pt x="963990" y="435046"/>
                  </a:cubicBezTo>
                  <a:cubicBezTo>
                    <a:pt x="1223730" y="435046"/>
                    <a:pt x="1325628" y="648949"/>
                    <a:pt x="1325628" y="928968"/>
                  </a:cubicBezTo>
                  <a:cubicBezTo>
                    <a:pt x="1325628" y="1208987"/>
                    <a:pt x="1225728" y="1419001"/>
                    <a:pt x="963990" y="1419001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EF83F272-F1EE-4879-AB6C-4A8F9B8E23A5}"/>
                </a:ext>
              </a:extLst>
            </p:cNvPr>
            <p:cNvSpPr/>
            <p:nvPr/>
          </p:nvSpPr>
          <p:spPr>
            <a:xfrm>
              <a:off x="21989833" y="1683013"/>
              <a:ext cx="1598398" cy="1750117"/>
            </a:xfrm>
            <a:custGeom>
              <a:avLst/>
              <a:gdLst>
                <a:gd name="connsiteX0" fmla="*/ 565434 w 1598397"/>
                <a:gd name="connsiteY0" fmla="*/ 1227027 h 1750117"/>
                <a:gd name="connsiteX1" fmla="*/ 663335 w 1598397"/>
                <a:gd name="connsiteY1" fmla="*/ 1421484 h 1750117"/>
                <a:gd name="connsiteX2" fmla="*/ 863135 w 1598397"/>
                <a:gd name="connsiteY2" fmla="*/ 1483710 h 1750117"/>
                <a:gd name="connsiteX3" fmla="*/ 1142855 w 1598397"/>
                <a:gd name="connsiteY3" fmla="*/ 1289253 h 1750117"/>
                <a:gd name="connsiteX4" fmla="*/ 857141 w 1598397"/>
                <a:gd name="connsiteY4" fmla="*/ 1112297 h 1750117"/>
                <a:gd name="connsiteX5" fmla="*/ 9991 w 1598397"/>
                <a:gd name="connsiteY5" fmla="*/ 538647 h 1750117"/>
                <a:gd name="connsiteX6" fmla="*/ 849149 w 1598397"/>
                <a:gd name="connsiteY6" fmla="*/ 0 h 1750117"/>
                <a:gd name="connsiteX7" fmla="*/ 1680316 w 1598397"/>
                <a:gd name="connsiteY7" fmla="*/ 567816 h 1750117"/>
                <a:gd name="connsiteX8" fmla="*/ 1126870 w 1598397"/>
                <a:gd name="connsiteY8" fmla="*/ 567816 h 1750117"/>
                <a:gd name="connsiteX9" fmla="*/ 1056941 w 1598397"/>
                <a:gd name="connsiteY9" fmla="*/ 416139 h 1750117"/>
                <a:gd name="connsiteX10" fmla="*/ 877121 w 1598397"/>
                <a:gd name="connsiteY10" fmla="*/ 371414 h 1750117"/>
                <a:gd name="connsiteX11" fmla="*/ 623376 w 1598397"/>
                <a:gd name="connsiteY11" fmla="*/ 503645 h 1750117"/>
                <a:gd name="connsiteX12" fmla="*/ 1306690 w 1598397"/>
                <a:gd name="connsiteY12" fmla="*/ 756440 h 1750117"/>
                <a:gd name="connsiteX13" fmla="*/ 1764232 w 1598397"/>
                <a:gd name="connsiteY13" fmla="*/ 1230916 h 1750117"/>
                <a:gd name="connsiteX14" fmla="*/ 883114 w 1598397"/>
                <a:gd name="connsiteY14" fmla="*/ 1855124 h 1750117"/>
                <a:gd name="connsiteX15" fmla="*/ 0 w 1598397"/>
                <a:gd name="connsiteY15" fmla="*/ 1227027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98397" h="1750117">
                  <a:moveTo>
                    <a:pt x="565434" y="1227027"/>
                  </a:moveTo>
                  <a:cubicBezTo>
                    <a:pt x="562613" y="1303699"/>
                    <a:pt x="599352" y="1376670"/>
                    <a:pt x="663335" y="1421484"/>
                  </a:cubicBezTo>
                  <a:cubicBezTo>
                    <a:pt x="721521" y="1462225"/>
                    <a:pt x="791457" y="1484006"/>
                    <a:pt x="863135" y="1483710"/>
                  </a:cubicBezTo>
                  <a:cubicBezTo>
                    <a:pt x="979019" y="1483711"/>
                    <a:pt x="1142855" y="1435096"/>
                    <a:pt x="1142855" y="1289253"/>
                  </a:cubicBezTo>
                  <a:cubicBezTo>
                    <a:pt x="1142855" y="1143410"/>
                    <a:pt x="967031" y="1135632"/>
                    <a:pt x="857141" y="1112297"/>
                  </a:cubicBezTo>
                  <a:cubicBezTo>
                    <a:pt x="491507" y="1018957"/>
                    <a:pt x="9991" y="1018957"/>
                    <a:pt x="9991" y="538647"/>
                  </a:cubicBezTo>
                  <a:cubicBezTo>
                    <a:pt x="9991" y="114730"/>
                    <a:pt x="495504" y="0"/>
                    <a:pt x="849149" y="0"/>
                  </a:cubicBezTo>
                  <a:cubicBezTo>
                    <a:pt x="1248748" y="0"/>
                    <a:pt x="1660335" y="112785"/>
                    <a:pt x="1680316" y="567816"/>
                  </a:cubicBezTo>
                  <a:lnTo>
                    <a:pt x="1126870" y="567816"/>
                  </a:lnTo>
                  <a:cubicBezTo>
                    <a:pt x="1132861" y="508762"/>
                    <a:pt x="1106249" y="451042"/>
                    <a:pt x="1056941" y="416139"/>
                  </a:cubicBezTo>
                  <a:cubicBezTo>
                    <a:pt x="1002817" y="384359"/>
                    <a:pt x="940274" y="368803"/>
                    <a:pt x="877121" y="371414"/>
                  </a:cubicBezTo>
                  <a:cubicBezTo>
                    <a:pt x="779219" y="371414"/>
                    <a:pt x="623376" y="383081"/>
                    <a:pt x="623376" y="503645"/>
                  </a:cubicBezTo>
                  <a:cubicBezTo>
                    <a:pt x="623376" y="668934"/>
                    <a:pt x="1034962" y="698102"/>
                    <a:pt x="1306690" y="756440"/>
                  </a:cubicBezTo>
                  <a:cubicBezTo>
                    <a:pt x="1559004" y="782271"/>
                    <a:pt x="1753730" y="984205"/>
                    <a:pt x="1764232" y="1230916"/>
                  </a:cubicBezTo>
                  <a:cubicBezTo>
                    <a:pt x="1764232" y="1699558"/>
                    <a:pt x="1290706" y="1855124"/>
                    <a:pt x="883114" y="1855124"/>
                  </a:cubicBezTo>
                  <a:cubicBezTo>
                    <a:pt x="475523" y="1855124"/>
                    <a:pt x="17983" y="1717059"/>
                    <a:pt x="0" y="1227027"/>
                  </a:cubicBez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pic>
        <p:nvPicPr>
          <p:cNvPr id="41" name="Picture 40" descr="A picture containing shirt&#10;&#10;Description automatically generated">
            <a:extLst>
              <a:ext uri="{FF2B5EF4-FFF2-40B4-BE49-F238E27FC236}">
                <a16:creationId xmlns:a16="http://schemas.microsoft.com/office/drawing/2014/main" id="{F9B39103-B335-4C3C-B9E5-813D105BBBF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87" y="113312"/>
            <a:ext cx="1951701" cy="791127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106D5BD-D58A-4A5D-A827-7A99DCDFD4CE}"/>
              </a:ext>
            </a:extLst>
          </p:cNvPr>
          <p:cNvSpPr txBox="1"/>
          <p:nvPr userDrawn="1"/>
        </p:nvSpPr>
        <p:spPr>
          <a:xfrm>
            <a:off x="1811306" y="366549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FOR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47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EE1AA469-925E-4A0A-BB2A-9910D2AFBB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" t="3151" b="2327"/>
          <a:stretch/>
        </p:blipFill>
        <p:spPr>
          <a:xfrm>
            <a:off x="0" y="0"/>
            <a:ext cx="12217400" cy="6858000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675375" y="4838088"/>
            <a:ext cx="3189744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664719" y="3769700"/>
            <a:ext cx="3202839" cy="1068388"/>
          </a:xfrm>
          <a:prstGeom prst="rect">
            <a:avLst/>
          </a:prstGeom>
        </p:spPr>
        <p:txBody>
          <a:bodyPr lIns="0" anchor="ctr"/>
          <a:lstStyle>
            <a:lvl1pPr>
              <a:defRPr sz="2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1" name="Freeform 43">
            <a:extLst>
              <a:ext uri="{FF2B5EF4-FFF2-40B4-BE49-F238E27FC236}">
                <a16:creationId xmlns:a16="http://schemas.microsoft.com/office/drawing/2014/main" id="{9A62FEC0-F7D9-459A-BF76-78F388DD1EFF}"/>
              </a:ext>
            </a:extLst>
          </p:cNvPr>
          <p:cNvSpPr>
            <a:spLocks noChangeAspect="1"/>
          </p:cNvSpPr>
          <p:nvPr userDrawn="1"/>
        </p:nvSpPr>
        <p:spPr>
          <a:xfrm>
            <a:off x="11582400" y="228600"/>
            <a:ext cx="285158" cy="251999"/>
          </a:xfrm>
          <a:custGeom>
            <a:avLst/>
            <a:gdLst>
              <a:gd name="connsiteX0" fmla="*/ 242180 w 333452"/>
              <a:gd name="connsiteY0" fmla="*/ 21015 h 294678"/>
              <a:gd name="connsiteX1" fmla="*/ 294756 w 333452"/>
              <a:gd name="connsiteY1" fmla="*/ 294679 h 294678"/>
              <a:gd name="connsiteX2" fmla="*/ 336865 w 333452"/>
              <a:gd name="connsiteY2" fmla="*/ 294679 h 294678"/>
              <a:gd name="connsiteX3" fmla="*/ 242102 w 333452"/>
              <a:gd name="connsiteY3" fmla="*/ 0 h 294678"/>
              <a:gd name="connsiteX4" fmla="*/ 168432 w 333452"/>
              <a:gd name="connsiteY4" fmla="*/ 101664 h 294678"/>
              <a:gd name="connsiteX5" fmla="*/ 94763 w 333452"/>
              <a:gd name="connsiteY5" fmla="*/ 0 h 294678"/>
              <a:gd name="connsiteX6" fmla="*/ 0 w 333452"/>
              <a:gd name="connsiteY6" fmla="*/ 294679 h 294678"/>
              <a:gd name="connsiteX7" fmla="*/ 42108 w 333452"/>
              <a:gd name="connsiteY7" fmla="*/ 294679 h 294678"/>
              <a:gd name="connsiteX8" fmla="*/ 94763 w 333452"/>
              <a:gd name="connsiteY8" fmla="*/ 21015 h 294678"/>
              <a:gd name="connsiteX9" fmla="*/ 147417 w 333452"/>
              <a:gd name="connsiteY9" fmla="*/ 273664 h 294678"/>
              <a:gd name="connsiteX10" fmla="*/ 189525 w 333452"/>
              <a:gd name="connsiteY10" fmla="*/ 273664 h 294678"/>
              <a:gd name="connsiteX11" fmla="*/ 242180 w 333452"/>
              <a:gd name="connsiteY11" fmla="*/ 21015 h 294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33452" h="294678">
                <a:moveTo>
                  <a:pt x="242180" y="21015"/>
                </a:moveTo>
                <a:cubicBezTo>
                  <a:pt x="271492" y="21015"/>
                  <a:pt x="294756" y="143850"/>
                  <a:pt x="294756" y="294679"/>
                </a:cubicBezTo>
                <a:lnTo>
                  <a:pt x="336865" y="294679"/>
                </a:lnTo>
                <a:cubicBezTo>
                  <a:pt x="336865" y="131830"/>
                  <a:pt x="294446" y="0"/>
                  <a:pt x="242102" y="0"/>
                </a:cubicBezTo>
                <a:cubicBezTo>
                  <a:pt x="212324" y="0"/>
                  <a:pt x="185803" y="39627"/>
                  <a:pt x="168432" y="101664"/>
                </a:cubicBezTo>
                <a:cubicBezTo>
                  <a:pt x="151062" y="39627"/>
                  <a:pt x="124463" y="0"/>
                  <a:pt x="94763" y="0"/>
                </a:cubicBezTo>
                <a:cubicBezTo>
                  <a:pt x="42418" y="0"/>
                  <a:pt x="0" y="131830"/>
                  <a:pt x="0" y="294679"/>
                </a:cubicBezTo>
                <a:lnTo>
                  <a:pt x="42108" y="294679"/>
                </a:lnTo>
                <a:cubicBezTo>
                  <a:pt x="42108" y="143540"/>
                  <a:pt x="65372" y="21015"/>
                  <a:pt x="94763" y="21015"/>
                </a:cubicBezTo>
                <a:cubicBezTo>
                  <a:pt x="124153" y="21015"/>
                  <a:pt x="147417" y="134156"/>
                  <a:pt x="147417" y="273664"/>
                </a:cubicBezTo>
                <a:lnTo>
                  <a:pt x="189525" y="273664"/>
                </a:lnTo>
                <a:cubicBezTo>
                  <a:pt x="189525" y="134079"/>
                  <a:pt x="212789" y="21015"/>
                  <a:pt x="242180" y="21015"/>
                </a:cubicBezTo>
              </a:path>
            </a:pathLst>
          </a:custGeom>
          <a:solidFill>
            <a:schemeClr val="bg1"/>
          </a:solidFill>
          <a:ln w="7620" cap="flat">
            <a:noFill/>
            <a:prstDash val="solid"/>
            <a:miter/>
          </a:ln>
        </p:spPr>
        <p:txBody>
          <a:bodyPr rtlCol="0" anchor="ctr"/>
          <a:lstStyle/>
          <a:p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2BB03B-283F-4763-92C3-C0C4FAAD9EB3}"/>
              </a:ext>
            </a:extLst>
          </p:cNvPr>
          <p:cNvSpPr txBox="1"/>
          <p:nvPr userDrawn="1"/>
        </p:nvSpPr>
        <p:spPr>
          <a:xfrm>
            <a:off x="11207449" y="246877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FOR</a:t>
            </a:r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3413AC28-60CC-4C47-8397-BE6796DD18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25" t="28144" r="12201" b="39801"/>
          <a:stretch/>
        </p:blipFill>
        <p:spPr>
          <a:xfrm>
            <a:off x="10923505" y="210554"/>
            <a:ext cx="314280" cy="288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226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Graphical user interface, icon&#10;&#10;Description automatically generated">
            <a:extLst>
              <a:ext uri="{FF2B5EF4-FFF2-40B4-BE49-F238E27FC236}">
                <a16:creationId xmlns:a16="http://schemas.microsoft.com/office/drawing/2014/main" id="{AC4F930C-23CF-48E6-A660-DC17EB67C4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0" r="1217" b="307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53615" y="4954588"/>
            <a:ext cx="4154303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7239000" y="3886200"/>
            <a:ext cx="4171358" cy="1068388"/>
          </a:xfrm>
          <a:prstGeom prst="rect">
            <a:avLst/>
          </a:prstGeom>
        </p:spPr>
        <p:txBody>
          <a:bodyPr lIns="0" anchor="ctr"/>
          <a:lstStyle>
            <a:lvl1pPr>
              <a:defRPr sz="2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5295255-AB73-4033-BFBD-2AA95ACECB2B}"/>
              </a:ext>
            </a:extLst>
          </p:cNvPr>
          <p:cNvGrpSpPr/>
          <p:nvPr userDrawn="1"/>
        </p:nvGrpSpPr>
        <p:grpSpPr>
          <a:xfrm>
            <a:off x="10848528" y="332656"/>
            <a:ext cx="956632" cy="293963"/>
            <a:chOff x="10704512" y="188640"/>
            <a:chExt cx="1265868" cy="388988"/>
          </a:xfrm>
        </p:grpSpPr>
        <p:grpSp>
          <p:nvGrpSpPr>
            <p:cNvPr id="21" name="Groupe 1">
              <a:extLst>
                <a:ext uri="{FF2B5EF4-FFF2-40B4-BE49-F238E27FC236}">
                  <a16:creationId xmlns:a16="http://schemas.microsoft.com/office/drawing/2014/main" id="{89F6516E-37FA-485F-992B-9AFF7CBFB67C}"/>
                </a:ext>
              </a:extLst>
            </p:cNvPr>
            <p:cNvGrpSpPr/>
            <p:nvPr userDrawn="1"/>
          </p:nvGrpSpPr>
          <p:grpSpPr>
            <a:xfrm>
              <a:off x="10704512" y="188640"/>
              <a:ext cx="419436" cy="388988"/>
              <a:chOff x="11501102" y="171573"/>
              <a:chExt cx="419436" cy="388988"/>
            </a:xfrm>
          </p:grpSpPr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5178AEAE-4092-4051-B883-E41D65D4A2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644642" y="334376"/>
                <a:ext cx="275896" cy="226185"/>
              </a:xfrm>
              <a:custGeom>
                <a:avLst/>
                <a:gdLst/>
                <a:ahLst/>
                <a:cxnLst>
                  <a:cxn ang="0">
                    <a:pos x="125" y="107"/>
                  </a:cxn>
                  <a:cxn ang="0">
                    <a:pos x="188" y="43"/>
                  </a:cxn>
                  <a:cxn ang="0">
                    <a:pos x="141" y="0"/>
                  </a:cxn>
                  <a:cxn ang="0">
                    <a:pos x="49" y="99"/>
                  </a:cxn>
                  <a:cxn ang="0">
                    <a:pos x="0" y="144"/>
                  </a:cxn>
                  <a:cxn ang="0">
                    <a:pos x="37" y="154"/>
                  </a:cxn>
                  <a:cxn ang="0">
                    <a:pos x="125" y="125"/>
                  </a:cxn>
                  <a:cxn ang="0">
                    <a:pos x="81" y="86"/>
                  </a:cxn>
                  <a:cxn ang="0">
                    <a:pos x="125" y="107"/>
                  </a:cxn>
                </a:cxnLst>
                <a:rect l="0" t="0" r="r" b="b"/>
                <a:pathLst>
                  <a:path w="188" h="154">
                    <a:moveTo>
                      <a:pt x="125" y="107"/>
                    </a:moveTo>
                    <a:cubicBezTo>
                      <a:pt x="160" y="107"/>
                      <a:pt x="188" y="78"/>
                      <a:pt x="188" y="43"/>
                    </a:cubicBezTo>
                    <a:cubicBezTo>
                      <a:pt x="186" y="28"/>
                      <a:pt x="181" y="0"/>
                      <a:pt x="141" y="0"/>
                    </a:cubicBezTo>
                    <a:cubicBezTo>
                      <a:pt x="99" y="0"/>
                      <a:pt x="84" y="60"/>
                      <a:pt x="49" y="99"/>
                    </a:cubicBezTo>
                    <a:cubicBezTo>
                      <a:pt x="47" y="121"/>
                      <a:pt x="26" y="140"/>
                      <a:pt x="0" y="144"/>
                    </a:cubicBezTo>
                    <a:cubicBezTo>
                      <a:pt x="6" y="150"/>
                      <a:pt x="20" y="154"/>
                      <a:pt x="37" y="154"/>
                    </a:cubicBezTo>
                    <a:cubicBezTo>
                      <a:pt x="68" y="154"/>
                      <a:pt x="106" y="145"/>
                      <a:pt x="125" y="125"/>
                    </a:cubicBezTo>
                    <a:cubicBezTo>
                      <a:pt x="99" y="126"/>
                      <a:pt x="82" y="109"/>
                      <a:pt x="81" y="86"/>
                    </a:cubicBezTo>
                    <a:cubicBezTo>
                      <a:pt x="93" y="101"/>
                      <a:pt x="108" y="107"/>
                      <a:pt x="125" y="107"/>
                    </a:cubicBezTo>
                  </a:path>
                </a:pathLst>
              </a:custGeom>
              <a:solidFill>
                <a:srgbClr val="12ABD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7EFCE238-4357-4087-97AB-215E29AC83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501102" y="171573"/>
                <a:ext cx="419436" cy="356676"/>
              </a:xfrm>
              <a:custGeom>
                <a:avLst/>
                <a:gdLst/>
                <a:ahLst/>
                <a:cxnLst>
                  <a:cxn ang="0">
                    <a:pos x="286" y="152"/>
                  </a:cxn>
                  <a:cxn ang="0">
                    <a:pos x="237" y="51"/>
                  </a:cxn>
                  <a:cxn ang="0">
                    <a:pos x="160" y="3"/>
                  </a:cxn>
                  <a:cxn ang="0">
                    <a:pos x="153" y="0"/>
                  </a:cxn>
                  <a:cxn ang="0">
                    <a:pos x="153" y="0"/>
                  </a:cxn>
                  <a:cxn ang="0">
                    <a:pos x="0" y="158"/>
                  </a:cxn>
                  <a:cxn ang="0">
                    <a:pos x="53" y="236"/>
                  </a:cxn>
                  <a:cxn ang="0">
                    <a:pos x="107" y="237"/>
                  </a:cxn>
                  <a:cxn ang="0">
                    <a:pos x="147" y="210"/>
                  </a:cxn>
                  <a:cxn ang="0">
                    <a:pos x="239" y="111"/>
                  </a:cxn>
                  <a:cxn ang="0">
                    <a:pos x="286" y="154"/>
                  </a:cxn>
                  <a:cxn ang="0">
                    <a:pos x="286" y="152"/>
                  </a:cxn>
                </a:cxnLst>
                <a:rect l="0" t="0" r="r" b="b"/>
                <a:pathLst>
                  <a:path w="286" h="243">
                    <a:moveTo>
                      <a:pt x="286" y="152"/>
                    </a:moveTo>
                    <a:cubicBezTo>
                      <a:pt x="286" y="112"/>
                      <a:pt x="266" y="78"/>
                      <a:pt x="237" y="51"/>
                    </a:cubicBezTo>
                    <a:cubicBezTo>
                      <a:pt x="215" y="30"/>
                      <a:pt x="188" y="15"/>
                      <a:pt x="160" y="3"/>
                    </a:cubicBezTo>
                    <a:cubicBezTo>
                      <a:pt x="158" y="2"/>
                      <a:pt x="156" y="1"/>
                      <a:pt x="153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19" y="41"/>
                      <a:pt x="0" y="72"/>
                      <a:pt x="0" y="158"/>
                    </a:cubicBezTo>
                    <a:cubicBezTo>
                      <a:pt x="0" y="192"/>
                      <a:pt x="21" y="224"/>
                      <a:pt x="53" y="236"/>
                    </a:cubicBezTo>
                    <a:cubicBezTo>
                      <a:pt x="71" y="243"/>
                      <a:pt x="89" y="243"/>
                      <a:pt x="107" y="237"/>
                    </a:cubicBezTo>
                    <a:cubicBezTo>
                      <a:pt x="123" y="232"/>
                      <a:pt x="136" y="222"/>
                      <a:pt x="147" y="210"/>
                    </a:cubicBezTo>
                    <a:cubicBezTo>
                      <a:pt x="182" y="171"/>
                      <a:pt x="197" y="111"/>
                      <a:pt x="239" y="111"/>
                    </a:cubicBezTo>
                    <a:cubicBezTo>
                      <a:pt x="279" y="111"/>
                      <a:pt x="284" y="139"/>
                      <a:pt x="286" y="154"/>
                    </a:cubicBezTo>
                    <a:cubicBezTo>
                      <a:pt x="286" y="154"/>
                      <a:pt x="286" y="153"/>
                      <a:pt x="286" y="152"/>
                    </a:cubicBezTo>
                  </a:path>
                </a:pathLst>
              </a:custGeom>
              <a:solidFill>
                <a:srgbClr val="0070A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3" name="Freeform 33">
              <a:extLst>
                <a:ext uri="{FF2B5EF4-FFF2-40B4-BE49-F238E27FC236}">
                  <a16:creationId xmlns:a16="http://schemas.microsoft.com/office/drawing/2014/main" id="{AF19FD34-2B77-42AB-9A41-7BA58414C67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93043" y="211794"/>
              <a:ext cx="377337" cy="333459"/>
            </a:xfrm>
            <a:custGeom>
              <a:avLst/>
              <a:gdLst>
                <a:gd name="connsiteX0" fmla="*/ 242180 w 333452"/>
                <a:gd name="connsiteY0" fmla="*/ 21015 h 294678"/>
                <a:gd name="connsiteX1" fmla="*/ 294756 w 333452"/>
                <a:gd name="connsiteY1" fmla="*/ 294679 h 294678"/>
                <a:gd name="connsiteX2" fmla="*/ 336865 w 333452"/>
                <a:gd name="connsiteY2" fmla="*/ 294679 h 294678"/>
                <a:gd name="connsiteX3" fmla="*/ 242102 w 333452"/>
                <a:gd name="connsiteY3" fmla="*/ 0 h 294678"/>
                <a:gd name="connsiteX4" fmla="*/ 168432 w 333452"/>
                <a:gd name="connsiteY4" fmla="*/ 101664 h 294678"/>
                <a:gd name="connsiteX5" fmla="*/ 94763 w 333452"/>
                <a:gd name="connsiteY5" fmla="*/ 0 h 294678"/>
                <a:gd name="connsiteX6" fmla="*/ 0 w 333452"/>
                <a:gd name="connsiteY6" fmla="*/ 294679 h 294678"/>
                <a:gd name="connsiteX7" fmla="*/ 42108 w 333452"/>
                <a:gd name="connsiteY7" fmla="*/ 294679 h 294678"/>
                <a:gd name="connsiteX8" fmla="*/ 94763 w 333452"/>
                <a:gd name="connsiteY8" fmla="*/ 21015 h 294678"/>
                <a:gd name="connsiteX9" fmla="*/ 147417 w 333452"/>
                <a:gd name="connsiteY9" fmla="*/ 273664 h 294678"/>
                <a:gd name="connsiteX10" fmla="*/ 189525 w 333452"/>
                <a:gd name="connsiteY10" fmla="*/ 273664 h 294678"/>
                <a:gd name="connsiteX11" fmla="*/ 242180 w 333452"/>
                <a:gd name="connsiteY11" fmla="*/ 21015 h 294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3452" h="294678">
                  <a:moveTo>
                    <a:pt x="242180" y="21015"/>
                  </a:moveTo>
                  <a:cubicBezTo>
                    <a:pt x="271492" y="21015"/>
                    <a:pt x="294756" y="143850"/>
                    <a:pt x="294756" y="294679"/>
                  </a:cubicBezTo>
                  <a:lnTo>
                    <a:pt x="336865" y="294679"/>
                  </a:lnTo>
                  <a:cubicBezTo>
                    <a:pt x="336865" y="131830"/>
                    <a:pt x="294446" y="0"/>
                    <a:pt x="242102" y="0"/>
                  </a:cubicBezTo>
                  <a:cubicBezTo>
                    <a:pt x="212324" y="0"/>
                    <a:pt x="185803" y="39627"/>
                    <a:pt x="168432" y="101664"/>
                  </a:cubicBezTo>
                  <a:cubicBezTo>
                    <a:pt x="151062" y="39627"/>
                    <a:pt x="124463" y="0"/>
                    <a:pt x="94763" y="0"/>
                  </a:cubicBezTo>
                  <a:cubicBezTo>
                    <a:pt x="42418" y="0"/>
                    <a:pt x="0" y="131830"/>
                    <a:pt x="0" y="294679"/>
                  </a:cubicBezTo>
                  <a:lnTo>
                    <a:pt x="42108" y="294679"/>
                  </a:lnTo>
                  <a:cubicBezTo>
                    <a:pt x="42108" y="143540"/>
                    <a:pt x="65372" y="21015"/>
                    <a:pt x="94763" y="21015"/>
                  </a:cubicBezTo>
                  <a:cubicBezTo>
                    <a:pt x="124153" y="21015"/>
                    <a:pt x="147417" y="134156"/>
                    <a:pt x="147417" y="273664"/>
                  </a:cubicBezTo>
                  <a:lnTo>
                    <a:pt x="189525" y="273664"/>
                  </a:lnTo>
                  <a:cubicBezTo>
                    <a:pt x="189525" y="134079"/>
                    <a:pt x="212789" y="21015"/>
                    <a:pt x="242180" y="21015"/>
                  </a:cubicBezTo>
                </a:path>
              </a:pathLst>
            </a:custGeom>
            <a:solidFill>
              <a:srgbClr val="FFBC0D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 dirty="0">
                <a:solidFill>
                  <a:schemeClr val="tx1"/>
                </a:solidFill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22D9A07F-23A7-4AEF-9ADC-782C7BCD5214}"/>
              </a:ext>
            </a:extLst>
          </p:cNvPr>
          <p:cNvSpPr txBox="1"/>
          <p:nvPr userDrawn="1"/>
        </p:nvSpPr>
        <p:spPr>
          <a:xfrm>
            <a:off x="11145050" y="371915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92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6">
            <a:extLst>
              <a:ext uri="{FF2B5EF4-FFF2-40B4-BE49-F238E27FC236}">
                <a16:creationId xmlns:a16="http://schemas.microsoft.com/office/drawing/2014/main" id="{94167192-8510-43D0-95C9-1CCC9FDC46C5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1" y="210555"/>
            <a:ext cx="8534400" cy="6650008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Graphical user interface&#10;&#10;Description automatically generated">
            <a:extLst>
              <a:ext uri="{FF2B5EF4-FFF2-40B4-BE49-F238E27FC236}">
                <a16:creationId xmlns:a16="http://schemas.microsoft.com/office/drawing/2014/main" id="{399B32D7-4F86-4A36-9AE3-8D339F4978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23" r="20792"/>
          <a:stretch/>
        </p:blipFill>
        <p:spPr>
          <a:xfrm>
            <a:off x="7492820" y="658432"/>
            <a:ext cx="4472265" cy="6598424"/>
          </a:xfrm>
          <a:prstGeom prst="rect">
            <a:avLst/>
          </a:prstGeom>
        </p:spPr>
      </p:pic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0245" y="3049588"/>
            <a:ext cx="4561926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75630" y="1981200"/>
            <a:ext cx="4580654" cy="1068388"/>
          </a:xfrm>
          <a:prstGeom prst="rect">
            <a:avLst/>
          </a:prstGeom>
        </p:spPr>
        <p:txBody>
          <a:bodyPr lIns="0" anchor="ctr"/>
          <a:lstStyle>
            <a:lvl1pPr>
              <a:defRPr sz="2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F6C856D-C725-47D4-B37C-C93FE044799E}"/>
              </a:ext>
            </a:extLst>
          </p:cNvPr>
          <p:cNvGrpSpPr/>
          <p:nvPr userDrawn="1"/>
        </p:nvGrpSpPr>
        <p:grpSpPr>
          <a:xfrm>
            <a:off x="10848528" y="304800"/>
            <a:ext cx="956632" cy="293963"/>
            <a:chOff x="10704512" y="188640"/>
            <a:chExt cx="1265868" cy="388988"/>
          </a:xfrm>
        </p:grpSpPr>
        <p:grpSp>
          <p:nvGrpSpPr>
            <p:cNvPr id="26" name="Groupe 1">
              <a:extLst>
                <a:ext uri="{FF2B5EF4-FFF2-40B4-BE49-F238E27FC236}">
                  <a16:creationId xmlns:a16="http://schemas.microsoft.com/office/drawing/2014/main" id="{7A0BDD86-CA2B-437F-BDE4-63677AA28C24}"/>
                </a:ext>
              </a:extLst>
            </p:cNvPr>
            <p:cNvGrpSpPr/>
            <p:nvPr userDrawn="1"/>
          </p:nvGrpSpPr>
          <p:grpSpPr>
            <a:xfrm>
              <a:off x="10704512" y="188640"/>
              <a:ext cx="419436" cy="388988"/>
              <a:chOff x="11501102" y="171573"/>
              <a:chExt cx="419436" cy="388988"/>
            </a:xfrm>
          </p:grpSpPr>
          <p:sp>
            <p:nvSpPr>
              <p:cNvPr id="28" name="Freeform 13">
                <a:extLst>
                  <a:ext uri="{FF2B5EF4-FFF2-40B4-BE49-F238E27FC236}">
                    <a16:creationId xmlns:a16="http://schemas.microsoft.com/office/drawing/2014/main" id="{FC42177C-317C-4274-9EE9-BE5A99F882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644642" y="334376"/>
                <a:ext cx="275896" cy="226185"/>
              </a:xfrm>
              <a:custGeom>
                <a:avLst/>
                <a:gdLst/>
                <a:ahLst/>
                <a:cxnLst>
                  <a:cxn ang="0">
                    <a:pos x="125" y="107"/>
                  </a:cxn>
                  <a:cxn ang="0">
                    <a:pos x="188" y="43"/>
                  </a:cxn>
                  <a:cxn ang="0">
                    <a:pos x="141" y="0"/>
                  </a:cxn>
                  <a:cxn ang="0">
                    <a:pos x="49" y="99"/>
                  </a:cxn>
                  <a:cxn ang="0">
                    <a:pos x="0" y="144"/>
                  </a:cxn>
                  <a:cxn ang="0">
                    <a:pos x="37" y="154"/>
                  </a:cxn>
                  <a:cxn ang="0">
                    <a:pos x="125" y="125"/>
                  </a:cxn>
                  <a:cxn ang="0">
                    <a:pos x="81" y="86"/>
                  </a:cxn>
                  <a:cxn ang="0">
                    <a:pos x="125" y="107"/>
                  </a:cxn>
                </a:cxnLst>
                <a:rect l="0" t="0" r="r" b="b"/>
                <a:pathLst>
                  <a:path w="188" h="154">
                    <a:moveTo>
                      <a:pt x="125" y="107"/>
                    </a:moveTo>
                    <a:cubicBezTo>
                      <a:pt x="160" y="107"/>
                      <a:pt x="188" y="78"/>
                      <a:pt x="188" y="43"/>
                    </a:cubicBezTo>
                    <a:cubicBezTo>
                      <a:pt x="186" y="28"/>
                      <a:pt x="181" y="0"/>
                      <a:pt x="141" y="0"/>
                    </a:cubicBezTo>
                    <a:cubicBezTo>
                      <a:pt x="99" y="0"/>
                      <a:pt x="84" y="60"/>
                      <a:pt x="49" y="99"/>
                    </a:cubicBezTo>
                    <a:cubicBezTo>
                      <a:pt x="47" y="121"/>
                      <a:pt x="26" y="140"/>
                      <a:pt x="0" y="144"/>
                    </a:cubicBezTo>
                    <a:cubicBezTo>
                      <a:pt x="6" y="150"/>
                      <a:pt x="20" y="154"/>
                      <a:pt x="37" y="154"/>
                    </a:cubicBezTo>
                    <a:cubicBezTo>
                      <a:pt x="68" y="154"/>
                      <a:pt x="106" y="145"/>
                      <a:pt x="125" y="125"/>
                    </a:cubicBezTo>
                    <a:cubicBezTo>
                      <a:pt x="99" y="126"/>
                      <a:pt x="82" y="109"/>
                      <a:pt x="81" y="86"/>
                    </a:cubicBezTo>
                    <a:cubicBezTo>
                      <a:pt x="93" y="101"/>
                      <a:pt x="108" y="107"/>
                      <a:pt x="125" y="107"/>
                    </a:cubicBezTo>
                  </a:path>
                </a:pathLst>
              </a:custGeom>
              <a:solidFill>
                <a:srgbClr val="12ABD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Freeform 14">
                <a:extLst>
                  <a:ext uri="{FF2B5EF4-FFF2-40B4-BE49-F238E27FC236}">
                    <a16:creationId xmlns:a16="http://schemas.microsoft.com/office/drawing/2014/main" id="{156B3922-BBB4-4643-9D92-09DB4506ED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501102" y="171573"/>
                <a:ext cx="419436" cy="356676"/>
              </a:xfrm>
              <a:custGeom>
                <a:avLst/>
                <a:gdLst/>
                <a:ahLst/>
                <a:cxnLst>
                  <a:cxn ang="0">
                    <a:pos x="286" y="152"/>
                  </a:cxn>
                  <a:cxn ang="0">
                    <a:pos x="237" y="51"/>
                  </a:cxn>
                  <a:cxn ang="0">
                    <a:pos x="160" y="3"/>
                  </a:cxn>
                  <a:cxn ang="0">
                    <a:pos x="153" y="0"/>
                  </a:cxn>
                  <a:cxn ang="0">
                    <a:pos x="153" y="0"/>
                  </a:cxn>
                  <a:cxn ang="0">
                    <a:pos x="0" y="158"/>
                  </a:cxn>
                  <a:cxn ang="0">
                    <a:pos x="53" y="236"/>
                  </a:cxn>
                  <a:cxn ang="0">
                    <a:pos x="107" y="237"/>
                  </a:cxn>
                  <a:cxn ang="0">
                    <a:pos x="147" y="210"/>
                  </a:cxn>
                  <a:cxn ang="0">
                    <a:pos x="239" y="111"/>
                  </a:cxn>
                  <a:cxn ang="0">
                    <a:pos x="286" y="154"/>
                  </a:cxn>
                  <a:cxn ang="0">
                    <a:pos x="286" y="152"/>
                  </a:cxn>
                </a:cxnLst>
                <a:rect l="0" t="0" r="r" b="b"/>
                <a:pathLst>
                  <a:path w="286" h="243">
                    <a:moveTo>
                      <a:pt x="286" y="152"/>
                    </a:moveTo>
                    <a:cubicBezTo>
                      <a:pt x="286" y="112"/>
                      <a:pt x="266" y="78"/>
                      <a:pt x="237" y="51"/>
                    </a:cubicBezTo>
                    <a:cubicBezTo>
                      <a:pt x="215" y="30"/>
                      <a:pt x="188" y="15"/>
                      <a:pt x="160" y="3"/>
                    </a:cubicBezTo>
                    <a:cubicBezTo>
                      <a:pt x="158" y="2"/>
                      <a:pt x="156" y="1"/>
                      <a:pt x="153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19" y="41"/>
                      <a:pt x="0" y="72"/>
                      <a:pt x="0" y="158"/>
                    </a:cubicBezTo>
                    <a:cubicBezTo>
                      <a:pt x="0" y="192"/>
                      <a:pt x="21" y="224"/>
                      <a:pt x="53" y="236"/>
                    </a:cubicBezTo>
                    <a:cubicBezTo>
                      <a:pt x="71" y="243"/>
                      <a:pt x="89" y="243"/>
                      <a:pt x="107" y="237"/>
                    </a:cubicBezTo>
                    <a:cubicBezTo>
                      <a:pt x="123" y="232"/>
                      <a:pt x="136" y="222"/>
                      <a:pt x="147" y="210"/>
                    </a:cubicBezTo>
                    <a:cubicBezTo>
                      <a:pt x="182" y="171"/>
                      <a:pt x="197" y="111"/>
                      <a:pt x="239" y="111"/>
                    </a:cubicBezTo>
                    <a:cubicBezTo>
                      <a:pt x="279" y="111"/>
                      <a:pt x="284" y="139"/>
                      <a:pt x="286" y="154"/>
                    </a:cubicBezTo>
                    <a:cubicBezTo>
                      <a:pt x="286" y="154"/>
                      <a:pt x="286" y="153"/>
                      <a:pt x="286" y="152"/>
                    </a:cubicBezTo>
                  </a:path>
                </a:pathLst>
              </a:custGeom>
              <a:solidFill>
                <a:srgbClr val="0070A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7" name="Freeform 33">
              <a:extLst>
                <a:ext uri="{FF2B5EF4-FFF2-40B4-BE49-F238E27FC236}">
                  <a16:creationId xmlns:a16="http://schemas.microsoft.com/office/drawing/2014/main" id="{F4621FED-EABA-4567-A7F7-F101E63CE6C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93043" y="211794"/>
              <a:ext cx="377337" cy="333459"/>
            </a:xfrm>
            <a:custGeom>
              <a:avLst/>
              <a:gdLst>
                <a:gd name="connsiteX0" fmla="*/ 242180 w 333452"/>
                <a:gd name="connsiteY0" fmla="*/ 21015 h 294678"/>
                <a:gd name="connsiteX1" fmla="*/ 294756 w 333452"/>
                <a:gd name="connsiteY1" fmla="*/ 294679 h 294678"/>
                <a:gd name="connsiteX2" fmla="*/ 336865 w 333452"/>
                <a:gd name="connsiteY2" fmla="*/ 294679 h 294678"/>
                <a:gd name="connsiteX3" fmla="*/ 242102 w 333452"/>
                <a:gd name="connsiteY3" fmla="*/ 0 h 294678"/>
                <a:gd name="connsiteX4" fmla="*/ 168432 w 333452"/>
                <a:gd name="connsiteY4" fmla="*/ 101664 h 294678"/>
                <a:gd name="connsiteX5" fmla="*/ 94763 w 333452"/>
                <a:gd name="connsiteY5" fmla="*/ 0 h 294678"/>
                <a:gd name="connsiteX6" fmla="*/ 0 w 333452"/>
                <a:gd name="connsiteY6" fmla="*/ 294679 h 294678"/>
                <a:gd name="connsiteX7" fmla="*/ 42108 w 333452"/>
                <a:gd name="connsiteY7" fmla="*/ 294679 h 294678"/>
                <a:gd name="connsiteX8" fmla="*/ 94763 w 333452"/>
                <a:gd name="connsiteY8" fmla="*/ 21015 h 294678"/>
                <a:gd name="connsiteX9" fmla="*/ 147417 w 333452"/>
                <a:gd name="connsiteY9" fmla="*/ 273664 h 294678"/>
                <a:gd name="connsiteX10" fmla="*/ 189525 w 333452"/>
                <a:gd name="connsiteY10" fmla="*/ 273664 h 294678"/>
                <a:gd name="connsiteX11" fmla="*/ 242180 w 333452"/>
                <a:gd name="connsiteY11" fmla="*/ 21015 h 294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3452" h="294678">
                  <a:moveTo>
                    <a:pt x="242180" y="21015"/>
                  </a:moveTo>
                  <a:cubicBezTo>
                    <a:pt x="271492" y="21015"/>
                    <a:pt x="294756" y="143850"/>
                    <a:pt x="294756" y="294679"/>
                  </a:cubicBezTo>
                  <a:lnTo>
                    <a:pt x="336865" y="294679"/>
                  </a:lnTo>
                  <a:cubicBezTo>
                    <a:pt x="336865" y="131830"/>
                    <a:pt x="294446" y="0"/>
                    <a:pt x="242102" y="0"/>
                  </a:cubicBezTo>
                  <a:cubicBezTo>
                    <a:pt x="212324" y="0"/>
                    <a:pt x="185803" y="39627"/>
                    <a:pt x="168432" y="101664"/>
                  </a:cubicBezTo>
                  <a:cubicBezTo>
                    <a:pt x="151062" y="39627"/>
                    <a:pt x="124463" y="0"/>
                    <a:pt x="94763" y="0"/>
                  </a:cubicBezTo>
                  <a:cubicBezTo>
                    <a:pt x="42418" y="0"/>
                    <a:pt x="0" y="131830"/>
                    <a:pt x="0" y="294679"/>
                  </a:cubicBezTo>
                  <a:lnTo>
                    <a:pt x="42108" y="294679"/>
                  </a:lnTo>
                  <a:cubicBezTo>
                    <a:pt x="42108" y="143540"/>
                    <a:pt x="65372" y="21015"/>
                    <a:pt x="94763" y="21015"/>
                  </a:cubicBezTo>
                  <a:cubicBezTo>
                    <a:pt x="124153" y="21015"/>
                    <a:pt x="147417" y="134156"/>
                    <a:pt x="147417" y="273664"/>
                  </a:cubicBezTo>
                  <a:lnTo>
                    <a:pt x="189525" y="273664"/>
                  </a:lnTo>
                  <a:cubicBezTo>
                    <a:pt x="189525" y="134079"/>
                    <a:pt x="212789" y="21015"/>
                    <a:pt x="242180" y="21015"/>
                  </a:cubicBezTo>
                </a:path>
              </a:pathLst>
            </a:custGeom>
            <a:solidFill>
              <a:srgbClr val="FFBC0D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 dirty="0">
                <a:solidFill>
                  <a:schemeClr val="tx1"/>
                </a:solidFill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DA91A6B8-C66E-4D7A-87B0-68A14250C877}"/>
              </a:ext>
            </a:extLst>
          </p:cNvPr>
          <p:cNvSpPr txBox="1"/>
          <p:nvPr userDrawn="1"/>
        </p:nvSpPr>
        <p:spPr>
          <a:xfrm>
            <a:off x="11145050" y="344059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7634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176872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268760"/>
            <a:ext cx="3537827" cy="49584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268760"/>
            <a:ext cx="3537827" cy="49584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268760"/>
            <a:ext cx="3537827" cy="49584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7281B41-474D-4061-80FC-1B90727FF4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32211" y="176872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3FA978E-0856-4CFF-B07D-3C722E9119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84124" y="1764603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8620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rme libre 6">
            <a:extLst>
              <a:ext uri="{FF2B5EF4-FFF2-40B4-BE49-F238E27FC236}">
                <a16:creationId xmlns:a16="http://schemas.microsoft.com/office/drawing/2014/main" id="{5818376E-729D-4945-8C40-C75E6CE93043}"/>
              </a:ext>
            </a:extLst>
          </p:cNvPr>
          <p:cNvSpPr/>
          <p:nvPr userDrawn="1"/>
        </p:nvSpPr>
        <p:spPr>
          <a:xfrm>
            <a:off x="0" y="626619"/>
            <a:ext cx="8382000" cy="6231381"/>
          </a:xfrm>
          <a:custGeom>
            <a:avLst/>
            <a:gdLst>
              <a:gd name="connsiteX0" fmla="*/ 1401477 w 1427755"/>
              <a:gd name="connsiteY0" fmla="*/ 965178 h 965178"/>
              <a:gd name="connsiteX1" fmla="*/ 1424282 w 1427755"/>
              <a:gd name="connsiteY1" fmla="*/ 530674 h 965178"/>
              <a:gd name="connsiteX2" fmla="*/ 71241 w 1427755"/>
              <a:gd name="connsiteY2" fmla="*/ 52678 h 965178"/>
              <a:gd name="connsiteX3" fmla="*/ 0 w 1427755"/>
              <a:gd name="connsiteY3" fmla="*/ 92130 h 965178"/>
              <a:gd name="connsiteX4" fmla="*/ 0 w 1427755"/>
              <a:gd name="connsiteY4" fmla="*/ 965178 h 965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7755" h="965178">
                <a:moveTo>
                  <a:pt x="1401477" y="965178"/>
                </a:moveTo>
                <a:cubicBezTo>
                  <a:pt x="1425331" y="821657"/>
                  <a:pt x="1432980" y="675906"/>
                  <a:pt x="1424282" y="530674"/>
                </a:cubicBezTo>
                <a:cubicBezTo>
                  <a:pt x="1087182" y="439181"/>
                  <a:pt x="581970" y="-182213"/>
                  <a:pt x="71241" y="52678"/>
                </a:cubicBezTo>
                <a:cubicBezTo>
                  <a:pt x="46532" y="64008"/>
                  <a:pt x="22717" y="77197"/>
                  <a:pt x="0" y="92130"/>
                </a:cubicBezTo>
                <a:lnTo>
                  <a:pt x="0" y="965178"/>
                </a:lnTo>
                <a:close/>
              </a:path>
            </a:pathLst>
          </a:custGeom>
          <a:solidFill>
            <a:schemeClr val="accent1"/>
          </a:solidFill>
          <a:ln w="6724" cap="flat">
            <a:noFill/>
            <a:prstDash val="solid"/>
            <a:miter/>
          </a:ln>
        </p:spPr>
        <p:txBody>
          <a:bodyPr rtlCol="0" anchor="ctr"/>
          <a:lstStyle/>
          <a:p>
            <a:endParaRPr lang="fr-FR" sz="240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5668" y="3886200"/>
            <a:ext cx="4480836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01052" y="2817812"/>
            <a:ext cx="4499232" cy="1068388"/>
          </a:xfrm>
          <a:prstGeom prst="rect">
            <a:avLst/>
          </a:prstGeom>
        </p:spPr>
        <p:txBody>
          <a:bodyPr lIns="0" anchor="ctr"/>
          <a:lstStyle>
            <a:lvl1pPr>
              <a:defRPr sz="2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113734D-F129-479E-AA3A-4E60A14B62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63" t="23466" r="10466" b="5423"/>
          <a:stretch/>
        </p:blipFill>
        <p:spPr>
          <a:xfrm>
            <a:off x="5486400" y="1981200"/>
            <a:ext cx="6705600" cy="487680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FCA8F2CD-97D0-4519-9144-F5A17EAA07C9}"/>
              </a:ext>
            </a:extLst>
          </p:cNvPr>
          <p:cNvGrpSpPr/>
          <p:nvPr userDrawn="1"/>
        </p:nvGrpSpPr>
        <p:grpSpPr>
          <a:xfrm>
            <a:off x="10848528" y="332656"/>
            <a:ext cx="956632" cy="293963"/>
            <a:chOff x="10704512" y="188640"/>
            <a:chExt cx="1265868" cy="388988"/>
          </a:xfrm>
        </p:grpSpPr>
        <p:grpSp>
          <p:nvGrpSpPr>
            <p:cNvPr id="28" name="Groupe 1">
              <a:extLst>
                <a:ext uri="{FF2B5EF4-FFF2-40B4-BE49-F238E27FC236}">
                  <a16:creationId xmlns:a16="http://schemas.microsoft.com/office/drawing/2014/main" id="{F9F8940D-4D41-4CF2-B689-1C818E1F4FBF}"/>
                </a:ext>
              </a:extLst>
            </p:cNvPr>
            <p:cNvGrpSpPr/>
            <p:nvPr userDrawn="1"/>
          </p:nvGrpSpPr>
          <p:grpSpPr>
            <a:xfrm>
              <a:off x="10704512" y="188640"/>
              <a:ext cx="419436" cy="388988"/>
              <a:chOff x="11501102" y="171573"/>
              <a:chExt cx="419436" cy="388988"/>
            </a:xfrm>
          </p:grpSpPr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C2905979-28CA-4B54-82AC-19E563AC65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644642" y="334376"/>
                <a:ext cx="275896" cy="226185"/>
              </a:xfrm>
              <a:custGeom>
                <a:avLst/>
                <a:gdLst/>
                <a:ahLst/>
                <a:cxnLst>
                  <a:cxn ang="0">
                    <a:pos x="125" y="107"/>
                  </a:cxn>
                  <a:cxn ang="0">
                    <a:pos x="188" y="43"/>
                  </a:cxn>
                  <a:cxn ang="0">
                    <a:pos x="141" y="0"/>
                  </a:cxn>
                  <a:cxn ang="0">
                    <a:pos x="49" y="99"/>
                  </a:cxn>
                  <a:cxn ang="0">
                    <a:pos x="0" y="144"/>
                  </a:cxn>
                  <a:cxn ang="0">
                    <a:pos x="37" y="154"/>
                  </a:cxn>
                  <a:cxn ang="0">
                    <a:pos x="125" y="125"/>
                  </a:cxn>
                  <a:cxn ang="0">
                    <a:pos x="81" y="86"/>
                  </a:cxn>
                  <a:cxn ang="0">
                    <a:pos x="125" y="107"/>
                  </a:cxn>
                </a:cxnLst>
                <a:rect l="0" t="0" r="r" b="b"/>
                <a:pathLst>
                  <a:path w="188" h="154">
                    <a:moveTo>
                      <a:pt x="125" y="107"/>
                    </a:moveTo>
                    <a:cubicBezTo>
                      <a:pt x="160" y="107"/>
                      <a:pt x="188" y="78"/>
                      <a:pt x="188" y="43"/>
                    </a:cubicBezTo>
                    <a:cubicBezTo>
                      <a:pt x="186" y="28"/>
                      <a:pt x="181" y="0"/>
                      <a:pt x="141" y="0"/>
                    </a:cubicBezTo>
                    <a:cubicBezTo>
                      <a:pt x="99" y="0"/>
                      <a:pt x="84" y="60"/>
                      <a:pt x="49" y="99"/>
                    </a:cubicBezTo>
                    <a:cubicBezTo>
                      <a:pt x="47" y="121"/>
                      <a:pt x="26" y="140"/>
                      <a:pt x="0" y="144"/>
                    </a:cubicBezTo>
                    <a:cubicBezTo>
                      <a:pt x="6" y="150"/>
                      <a:pt x="20" y="154"/>
                      <a:pt x="37" y="154"/>
                    </a:cubicBezTo>
                    <a:cubicBezTo>
                      <a:pt x="68" y="154"/>
                      <a:pt x="106" y="145"/>
                      <a:pt x="125" y="125"/>
                    </a:cubicBezTo>
                    <a:cubicBezTo>
                      <a:pt x="99" y="126"/>
                      <a:pt x="82" y="109"/>
                      <a:pt x="81" y="86"/>
                    </a:cubicBezTo>
                    <a:cubicBezTo>
                      <a:pt x="93" y="101"/>
                      <a:pt x="108" y="107"/>
                      <a:pt x="125" y="107"/>
                    </a:cubicBezTo>
                  </a:path>
                </a:pathLst>
              </a:custGeom>
              <a:solidFill>
                <a:srgbClr val="12ABD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4BECDA2D-035A-44EA-9EED-836924B30C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501102" y="171573"/>
                <a:ext cx="419436" cy="356676"/>
              </a:xfrm>
              <a:custGeom>
                <a:avLst/>
                <a:gdLst/>
                <a:ahLst/>
                <a:cxnLst>
                  <a:cxn ang="0">
                    <a:pos x="286" y="152"/>
                  </a:cxn>
                  <a:cxn ang="0">
                    <a:pos x="237" y="51"/>
                  </a:cxn>
                  <a:cxn ang="0">
                    <a:pos x="160" y="3"/>
                  </a:cxn>
                  <a:cxn ang="0">
                    <a:pos x="153" y="0"/>
                  </a:cxn>
                  <a:cxn ang="0">
                    <a:pos x="153" y="0"/>
                  </a:cxn>
                  <a:cxn ang="0">
                    <a:pos x="0" y="158"/>
                  </a:cxn>
                  <a:cxn ang="0">
                    <a:pos x="53" y="236"/>
                  </a:cxn>
                  <a:cxn ang="0">
                    <a:pos x="107" y="237"/>
                  </a:cxn>
                  <a:cxn ang="0">
                    <a:pos x="147" y="210"/>
                  </a:cxn>
                  <a:cxn ang="0">
                    <a:pos x="239" y="111"/>
                  </a:cxn>
                  <a:cxn ang="0">
                    <a:pos x="286" y="154"/>
                  </a:cxn>
                  <a:cxn ang="0">
                    <a:pos x="286" y="152"/>
                  </a:cxn>
                </a:cxnLst>
                <a:rect l="0" t="0" r="r" b="b"/>
                <a:pathLst>
                  <a:path w="286" h="243">
                    <a:moveTo>
                      <a:pt x="286" y="152"/>
                    </a:moveTo>
                    <a:cubicBezTo>
                      <a:pt x="286" y="112"/>
                      <a:pt x="266" y="78"/>
                      <a:pt x="237" y="51"/>
                    </a:cubicBezTo>
                    <a:cubicBezTo>
                      <a:pt x="215" y="30"/>
                      <a:pt x="188" y="15"/>
                      <a:pt x="160" y="3"/>
                    </a:cubicBezTo>
                    <a:cubicBezTo>
                      <a:pt x="158" y="2"/>
                      <a:pt x="156" y="1"/>
                      <a:pt x="153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19" y="41"/>
                      <a:pt x="0" y="72"/>
                      <a:pt x="0" y="158"/>
                    </a:cubicBezTo>
                    <a:cubicBezTo>
                      <a:pt x="0" y="192"/>
                      <a:pt x="21" y="224"/>
                      <a:pt x="53" y="236"/>
                    </a:cubicBezTo>
                    <a:cubicBezTo>
                      <a:pt x="71" y="243"/>
                      <a:pt x="89" y="243"/>
                      <a:pt x="107" y="237"/>
                    </a:cubicBezTo>
                    <a:cubicBezTo>
                      <a:pt x="123" y="232"/>
                      <a:pt x="136" y="222"/>
                      <a:pt x="147" y="210"/>
                    </a:cubicBezTo>
                    <a:cubicBezTo>
                      <a:pt x="182" y="171"/>
                      <a:pt x="197" y="111"/>
                      <a:pt x="239" y="111"/>
                    </a:cubicBezTo>
                    <a:cubicBezTo>
                      <a:pt x="279" y="111"/>
                      <a:pt x="284" y="139"/>
                      <a:pt x="286" y="154"/>
                    </a:cubicBezTo>
                    <a:cubicBezTo>
                      <a:pt x="286" y="154"/>
                      <a:pt x="286" y="153"/>
                      <a:pt x="286" y="152"/>
                    </a:cubicBezTo>
                  </a:path>
                </a:pathLst>
              </a:custGeom>
              <a:solidFill>
                <a:srgbClr val="0070A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9" name="Freeform 33">
              <a:extLst>
                <a:ext uri="{FF2B5EF4-FFF2-40B4-BE49-F238E27FC236}">
                  <a16:creationId xmlns:a16="http://schemas.microsoft.com/office/drawing/2014/main" id="{848A6AA0-B605-448B-A916-251104F8E0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93043" y="211794"/>
              <a:ext cx="377337" cy="333459"/>
            </a:xfrm>
            <a:custGeom>
              <a:avLst/>
              <a:gdLst>
                <a:gd name="connsiteX0" fmla="*/ 242180 w 333452"/>
                <a:gd name="connsiteY0" fmla="*/ 21015 h 294678"/>
                <a:gd name="connsiteX1" fmla="*/ 294756 w 333452"/>
                <a:gd name="connsiteY1" fmla="*/ 294679 h 294678"/>
                <a:gd name="connsiteX2" fmla="*/ 336865 w 333452"/>
                <a:gd name="connsiteY2" fmla="*/ 294679 h 294678"/>
                <a:gd name="connsiteX3" fmla="*/ 242102 w 333452"/>
                <a:gd name="connsiteY3" fmla="*/ 0 h 294678"/>
                <a:gd name="connsiteX4" fmla="*/ 168432 w 333452"/>
                <a:gd name="connsiteY4" fmla="*/ 101664 h 294678"/>
                <a:gd name="connsiteX5" fmla="*/ 94763 w 333452"/>
                <a:gd name="connsiteY5" fmla="*/ 0 h 294678"/>
                <a:gd name="connsiteX6" fmla="*/ 0 w 333452"/>
                <a:gd name="connsiteY6" fmla="*/ 294679 h 294678"/>
                <a:gd name="connsiteX7" fmla="*/ 42108 w 333452"/>
                <a:gd name="connsiteY7" fmla="*/ 294679 h 294678"/>
                <a:gd name="connsiteX8" fmla="*/ 94763 w 333452"/>
                <a:gd name="connsiteY8" fmla="*/ 21015 h 294678"/>
                <a:gd name="connsiteX9" fmla="*/ 147417 w 333452"/>
                <a:gd name="connsiteY9" fmla="*/ 273664 h 294678"/>
                <a:gd name="connsiteX10" fmla="*/ 189525 w 333452"/>
                <a:gd name="connsiteY10" fmla="*/ 273664 h 294678"/>
                <a:gd name="connsiteX11" fmla="*/ 242180 w 333452"/>
                <a:gd name="connsiteY11" fmla="*/ 21015 h 294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3452" h="294678">
                  <a:moveTo>
                    <a:pt x="242180" y="21015"/>
                  </a:moveTo>
                  <a:cubicBezTo>
                    <a:pt x="271492" y="21015"/>
                    <a:pt x="294756" y="143850"/>
                    <a:pt x="294756" y="294679"/>
                  </a:cubicBezTo>
                  <a:lnTo>
                    <a:pt x="336865" y="294679"/>
                  </a:lnTo>
                  <a:cubicBezTo>
                    <a:pt x="336865" y="131830"/>
                    <a:pt x="294446" y="0"/>
                    <a:pt x="242102" y="0"/>
                  </a:cubicBezTo>
                  <a:cubicBezTo>
                    <a:pt x="212324" y="0"/>
                    <a:pt x="185803" y="39627"/>
                    <a:pt x="168432" y="101664"/>
                  </a:cubicBezTo>
                  <a:cubicBezTo>
                    <a:pt x="151062" y="39627"/>
                    <a:pt x="124463" y="0"/>
                    <a:pt x="94763" y="0"/>
                  </a:cubicBezTo>
                  <a:cubicBezTo>
                    <a:pt x="42418" y="0"/>
                    <a:pt x="0" y="131830"/>
                    <a:pt x="0" y="294679"/>
                  </a:cubicBezTo>
                  <a:lnTo>
                    <a:pt x="42108" y="294679"/>
                  </a:lnTo>
                  <a:cubicBezTo>
                    <a:pt x="42108" y="143540"/>
                    <a:pt x="65372" y="21015"/>
                    <a:pt x="94763" y="21015"/>
                  </a:cubicBezTo>
                  <a:cubicBezTo>
                    <a:pt x="124153" y="21015"/>
                    <a:pt x="147417" y="134156"/>
                    <a:pt x="147417" y="273664"/>
                  </a:cubicBezTo>
                  <a:lnTo>
                    <a:pt x="189525" y="273664"/>
                  </a:lnTo>
                  <a:cubicBezTo>
                    <a:pt x="189525" y="134079"/>
                    <a:pt x="212789" y="21015"/>
                    <a:pt x="242180" y="21015"/>
                  </a:cubicBezTo>
                </a:path>
              </a:pathLst>
            </a:custGeom>
            <a:solidFill>
              <a:srgbClr val="FFBC0D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06205F98-F677-437E-8A7B-12E29F90D06A}"/>
              </a:ext>
            </a:extLst>
          </p:cNvPr>
          <p:cNvSpPr txBox="1"/>
          <p:nvPr userDrawn="1"/>
        </p:nvSpPr>
        <p:spPr>
          <a:xfrm>
            <a:off x="11145050" y="371915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588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7004D4E-9CFD-4F4B-B5A3-705405B6640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4043" y="1592432"/>
            <a:ext cx="4780972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9427" y="524044"/>
            <a:ext cx="4800600" cy="1068388"/>
          </a:xfrm>
          <a:prstGeom prst="rect">
            <a:avLst/>
          </a:prstGeom>
        </p:spPr>
        <p:txBody>
          <a:bodyPr lIns="0" anchor="ctr"/>
          <a:lstStyle>
            <a:lvl1pPr>
              <a:defRPr sz="2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36B2D5C-E1A2-4ADA-BC2D-F4CCA10F209D}"/>
              </a:ext>
            </a:extLst>
          </p:cNvPr>
          <p:cNvGrpSpPr/>
          <p:nvPr userDrawn="1"/>
        </p:nvGrpSpPr>
        <p:grpSpPr>
          <a:xfrm>
            <a:off x="10848528" y="332656"/>
            <a:ext cx="956632" cy="293963"/>
            <a:chOff x="10704512" y="188640"/>
            <a:chExt cx="1265868" cy="388988"/>
          </a:xfrm>
        </p:grpSpPr>
        <p:grpSp>
          <p:nvGrpSpPr>
            <p:cNvPr id="21" name="Groupe 1">
              <a:extLst>
                <a:ext uri="{FF2B5EF4-FFF2-40B4-BE49-F238E27FC236}">
                  <a16:creationId xmlns:a16="http://schemas.microsoft.com/office/drawing/2014/main" id="{69CFD900-808C-4131-8B03-2D06023FB991}"/>
                </a:ext>
              </a:extLst>
            </p:cNvPr>
            <p:cNvGrpSpPr/>
            <p:nvPr userDrawn="1"/>
          </p:nvGrpSpPr>
          <p:grpSpPr>
            <a:xfrm>
              <a:off x="10704512" y="188640"/>
              <a:ext cx="419436" cy="388988"/>
              <a:chOff x="11501102" y="171573"/>
              <a:chExt cx="419436" cy="388988"/>
            </a:xfrm>
          </p:grpSpPr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EF5F86D7-CF56-4293-A783-6FADBCC069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644642" y="334376"/>
                <a:ext cx="275896" cy="226185"/>
              </a:xfrm>
              <a:custGeom>
                <a:avLst/>
                <a:gdLst/>
                <a:ahLst/>
                <a:cxnLst>
                  <a:cxn ang="0">
                    <a:pos x="125" y="107"/>
                  </a:cxn>
                  <a:cxn ang="0">
                    <a:pos x="188" y="43"/>
                  </a:cxn>
                  <a:cxn ang="0">
                    <a:pos x="141" y="0"/>
                  </a:cxn>
                  <a:cxn ang="0">
                    <a:pos x="49" y="99"/>
                  </a:cxn>
                  <a:cxn ang="0">
                    <a:pos x="0" y="144"/>
                  </a:cxn>
                  <a:cxn ang="0">
                    <a:pos x="37" y="154"/>
                  </a:cxn>
                  <a:cxn ang="0">
                    <a:pos x="125" y="125"/>
                  </a:cxn>
                  <a:cxn ang="0">
                    <a:pos x="81" y="86"/>
                  </a:cxn>
                  <a:cxn ang="0">
                    <a:pos x="125" y="107"/>
                  </a:cxn>
                </a:cxnLst>
                <a:rect l="0" t="0" r="r" b="b"/>
                <a:pathLst>
                  <a:path w="188" h="154">
                    <a:moveTo>
                      <a:pt x="125" y="107"/>
                    </a:moveTo>
                    <a:cubicBezTo>
                      <a:pt x="160" y="107"/>
                      <a:pt x="188" y="78"/>
                      <a:pt x="188" y="43"/>
                    </a:cubicBezTo>
                    <a:cubicBezTo>
                      <a:pt x="186" y="28"/>
                      <a:pt x="181" y="0"/>
                      <a:pt x="141" y="0"/>
                    </a:cubicBezTo>
                    <a:cubicBezTo>
                      <a:pt x="99" y="0"/>
                      <a:pt x="84" y="60"/>
                      <a:pt x="49" y="99"/>
                    </a:cubicBezTo>
                    <a:cubicBezTo>
                      <a:pt x="47" y="121"/>
                      <a:pt x="26" y="140"/>
                      <a:pt x="0" y="144"/>
                    </a:cubicBezTo>
                    <a:cubicBezTo>
                      <a:pt x="6" y="150"/>
                      <a:pt x="20" y="154"/>
                      <a:pt x="37" y="154"/>
                    </a:cubicBezTo>
                    <a:cubicBezTo>
                      <a:pt x="68" y="154"/>
                      <a:pt x="106" y="145"/>
                      <a:pt x="125" y="125"/>
                    </a:cubicBezTo>
                    <a:cubicBezTo>
                      <a:pt x="99" y="126"/>
                      <a:pt x="82" y="109"/>
                      <a:pt x="81" y="86"/>
                    </a:cubicBezTo>
                    <a:cubicBezTo>
                      <a:pt x="93" y="101"/>
                      <a:pt x="108" y="107"/>
                      <a:pt x="125" y="107"/>
                    </a:cubicBezTo>
                  </a:path>
                </a:pathLst>
              </a:custGeom>
              <a:solidFill>
                <a:srgbClr val="12ABD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506DAC5B-E41B-42C5-B19D-55D9F9A193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501102" y="171573"/>
                <a:ext cx="419436" cy="356676"/>
              </a:xfrm>
              <a:custGeom>
                <a:avLst/>
                <a:gdLst/>
                <a:ahLst/>
                <a:cxnLst>
                  <a:cxn ang="0">
                    <a:pos x="286" y="152"/>
                  </a:cxn>
                  <a:cxn ang="0">
                    <a:pos x="237" y="51"/>
                  </a:cxn>
                  <a:cxn ang="0">
                    <a:pos x="160" y="3"/>
                  </a:cxn>
                  <a:cxn ang="0">
                    <a:pos x="153" y="0"/>
                  </a:cxn>
                  <a:cxn ang="0">
                    <a:pos x="153" y="0"/>
                  </a:cxn>
                  <a:cxn ang="0">
                    <a:pos x="0" y="158"/>
                  </a:cxn>
                  <a:cxn ang="0">
                    <a:pos x="53" y="236"/>
                  </a:cxn>
                  <a:cxn ang="0">
                    <a:pos x="107" y="237"/>
                  </a:cxn>
                  <a:cxn ang="0">
                    <a:pos x="147" y="210"/>
                  </a:cxn>
                  <a:cxn ang="0">
                    <a:pos x="239" y="111"/>
                  </a:cxn>
                  <a:cxn ang="0">
                    <a:pos x="286" y="154"/>
                  </a:cxn>
                  <a:cxn ang="0">
                    <a:pos x="286" y="152"/>
                  </a:cxn>
                </a:cxnLst>
                <a:rect l="0" t="0" r="r" b="b"/>
                <a:pathLst>
                  <a:path w="286" h="243">
                    <a:moveTo>
                      <a:pt x="286" y="152"/>
                    </a:moveTo>
                    <a:cubicBezTo>
                      <a:pt x="286" y="112"/>
                      <a:pt x="266" y="78"/>
                      <a:pt x="237" y="51"/>
                    </a:cubicBezTo>
                    <a:cubicBezTo>
                      <a:pt x="215" y="30"/>
                      <a:pt x="188" y="15"/>
                      <a:pt x="160" y="3"/>
                    </a:cubicBezTo>
                    <a:cubicBezTo>
                      <a:pt x="158" y="2"/>
                      <a:pt x="156" y="1"/>
                      <a:pt x="153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19" y="41"/>
                      <a:pt x="0" y="72"/>
                      <a:pt x="0" y="158"/>
                    </a:cubicBezTo>
                    <a:cubicBezTo>
                      <a:pt x="0" y="192"/>
                      <a:pt x="21" y="224"/>
                      <a:pt x="53" y="236"/>
                    </a:cubicBezTo>
                    <a:cubicBezTo>
                      <a:pt x="71" y="243"/>
                      <a:pt x="89" y="243"/>
                      <a:pt x="107" y="237"/>
                    </a:cubicBezTo>
                    <a:cubicBezTo>
                      <a:pt x="123" y="232"/>
                      <a:pt x="136" y="222"/>
                      <a:pt x="147" y="210"/>
                    </a:cubicBezTo>
                    <a:cubicBezTo>
                      <a:pt x="182" y="171"/>
                      <a:pt x="197" y="111"/>
                      <a:pt x="239" y="111"/>
                    </a:cubicBezTo>
                    <a:cubicBezTo>
                      <a:pt x="279" y="111"/>
                      <a:pt x="284" y="139"/>
                      <a:pt x="286" y="154"/>
                    </a:cubicBezTo>
                    <a:cubicBezTo>
                      <a:pt x="286" y="154"/>
                      <a:pt x="286" y="153"/>
                      <a:pt x="286" y="152"/>
                    </a:cubicBezTo>
                  </a:path>
                </a:pathLst>
              </a:custGeom>
              <a:solidFill>
                <a:srgbClr val="0070A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3" name="Freeform 33">
              <a:extLst>
                <a:ext uri="{FF2B5EF4-FFF2-40B4-BE49-F238E27FC236}">
                  <a16:creationId xmlns:a16="http://schemas.microsoft.com/office/drawing/2014/main" id="{7140CC19-89D6-4AC1-A098-517E56254C9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93043" y="211794"/>
              <a:ext cx="377337" cy="333459"/>
            </a:xfrm>
            <a:custGeom>
              <a:avLst/>
              <a:gdLst>
                <a:gd name="connsiteX0" fmla="*/ 242180 w 333452"/>
                <a:gd name="connsiteY0" fmla="*/ 21015 h 294678"/>
                <a:gd name="connsiteX1" fmla="*/ 294756 w 333452"/>
                <a:gd name="connsiteY1" fmla="*/ 294679 h 294678"/>
                <a:gd name="connsiteX2" fmla="*/ 336865 w 333452"/>
                <a:gd name="connsiteY2" fmla="*/ 294679 h 294678"/>
                <a:gd name="connsiteX3" fmla="*/ 242102 w 333452"/>
                <a:gd name="connsiteY3" fmla="*/ 0 h 294678"/>
                <a:gd name="connsiteX4" fmla="*/ 168432 w 333452"/>
                <a:gd name="connsiteY4" fmla="*/ 101664 h 294678"/>
                <a:gd name="connsiteX5" fmla="*/ 94763 w 333452"/>
                <a:gd name="connsiteY5" fmla="*/ 0 h 294678"/>
                <a:gd name="connsiteX6" fmla="*/ 0 w 333452"/>
                <a:gd name="connsiteY6" fmla="*/ 294679 h 294678"/>
                <a:gd name="connsiteX7" fmla="*/ 42108 w 333452"/>
                <a:gd name="connsiteY7" fmla="*/ 294679 h 294678"/>
                <a:gd name="connsiteX8" fmla="*/ 94763 w 333452"/>
                <a:gd name="connsiteY8" fmla="*/ 21015 h 294678"/>
                <a:gd name="connsiteX9" fmla="*/ 147417 w 333452"/>
                <a:gd name="connsiteY9" fmla="*/ 273664 h 294678"/>
                <a:gd name="connsiteX10" fmla="*/ 189525 w 333452"/>
                <a:gd name="connsiteY10" fmla="*/ 273664 h 294678"/>
                <a:gd name="connsiteX11" fmla="*/ 242180 w 333452"/>
                <a:gd name="connsiteY11" fmla="*/ 21015 h 294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3452" h="294678">
                  <a:moveTo>
                    <a:pt x="242180" y="21015"/>
                  </a:moveTo>
                  <a:cubicBezTo>
                    <a:pt x="271492" y="21015"/>
                    <a:pt x="294756" y="143850"/>
                    <a:pt x="294756" y="294679"/>
                  </a:cubicBezTo>
                  <a:lnTo>
                    <a:pt x="336865" y="294679"/>
                  </a:lnTo>
                  <a:cubicBezTo>
                    <a:pt x="336865" y="131830"/>
                    <a:pt x="294446" y="0"/>
                    <a:pt x="242102" y="0"/>
                  </a:cubicBezTo>
                  <a:cubicBezTo>
                    <a:pt x="212324" y="0"/>
                    <a:pt x="185803" y="39627"/>
                    <a:pt x="168432" y="101664"/>
                  </a:cubicBezTo>
                  <a:cubicBezTo>
                    <a:pt x="151062" y="39627"/>
                    <a:pt x="124463" y="0"/>
                    <a:pt x="94763" y="0"/>
                  </a:cubicBezTo>
                  <a:cubicBezTo>
                    <a:pt x="42418" y="0"/>
                    <a:pt x="0" y="131830"/>
                    <a:pt x="0" y="294679"/>
                  </a:cubicBezTo>
                  <a:lnTo>
                    <a:pt x="42108" y="294679"/>
                  </a:lnTo>
                  <a:cubicBezTo>
                    <a:pt x="42108" y="143540"/>
                    <a:pt x="65372" y="21015"/>
                    <a:pt x="94763" y="21015"/>
                  </a:cubicBezTo>
                  <a:cubicBezTo>
                    <a:pt x="124153" y="21015"/>
                    <a:pt x="147417" y="134156"/>
                    <a:pt x="147417" y="273664"/>
                  </a:cubicBezTo>
                  <a:lnTo>
                    <a:pt x="189525" y="273664"/>
                  </a:lnTo>
                  <a:cubicBezTo>
                    <a:pt x="189525" y="134079"/>
                    <a:pt x="212789" y="21015"/>
                    <a:pt x="242180" y="21015"/>
                  </a:cubicBezTo>
                </a:path>
              </a:pathLst>
            </a:custGeom>
            <a:solidFill>
              <a:srgbClr val="FFBC0D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 dirty="0">
                <a:solidFill>
                  <a:schemeClr val="tx1"/>
                </a:solidFill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F2F77563-AB80-4DF4-B3BD-A6752B74A5F4}"/>
              </a:ext>
            </a:extLst>
          </p:cNvPr>
          <p:cNvSpPr txBox="1"/>
          <p:nvPr userDrawn="1"/>
        </p:nvSpPr>
        <p:spPr>
          <a:xfrm>
            <a:off x="11145050" y="371915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982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6">
            <a:extLst>
              <a:ext uri="{FF2B5EF4-FFF2-40B4-BE49-F238E27FC236}">
                <a16:creationId xmlns:a16="http://schemas.microsoft.com/office/drawing/2014/main" id="{55874C02-C2EF-4C8D-99EE-68EB81986A6F}"/>
              </a:ext>
            </a:extLst>
          </p:cNvPr>
          <p:cNvSpPr>
            <a:spLocks/>
          </p:cNvSpPr>
          <p:nvPr userDrawn="1"/>
        </p:nvSpPr>
        <p:spPr bwMode="auto">
          <a:xfrm>
            <a:off x="4191000" y="544940"/>
            <a:ext cx="8000151" cy="6319409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36100" y="3963194"/>
            <a:ext cx="447180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6324600" y="2894806"/>
            <a:ext cx="4490167" cy="1068388"/>
          </a:xfrm>
          <a:prstGeom prst="rect">
            <a:avLst/>
          </a:prstGeom>
        </p:spPr>
        <p:txBody>
          <a:bodyPr lIns="0" anchor="ctr"/>
          <a:lstStyle>
            <a:lvl1pPr>
              <a:defRPr sz="2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E4869A48-8466-4A36-9DAB-ACCE554644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96" t="22222" r="47158"/>
          <a:stretch/>
        </p:blipFill>
        <p:spPr>
          <a:xfrm>
            <a:off x="-152399" y="1524000"/>
            <a:ext cx="4876800" cy="5334000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8A1B2EDF-1038-478C-97FE-DC24BFDD840A}"/>
              </a:ext>
            </a:extLst>
          </p:cNvPr>
          <p:cNvGrpSpPr/>
          <p:nvPr userDrawn="1"/>
        </p:nvGrpSpPr>
        <p:grpSpPr>
          <a:xfrm>
            <a:off x="306023" y="290237"/>
            <a:ext cx="956632" cy="293963"/>
            <a:chOff x="10704512" y="188640"/>
            <a:chExt cx="1265868" cy="388988"/>
          </a:xfrm>
        </p:grpSpPr>
        <p:grpSp>
          <p:nvGrpSpPr>
            <p:cNvPr id="29" name="Groupe 1">
              <a:extLst>
                <a:ext uri="{FF2B5EF4-FFF2-40B4-BE49-F238E27FC236}">
                  <a16:creationId xmlns:a16="http://schemas.microsoft.com/office/drawing/2014/main" id="{DD3EB4CB-D6A9-4E6B-8BFC-E7BB407F515A}"/>
                </a:ext>
              </a:extLst>
            </p:cNvPr>
            <p:cNvGrpSpPr/>
            <p:nvPr userDrawn="1"/>
          </p:nvGrpSpPr>
          <p:grpSpPr>
            <a:xfrm>
              <a:off x="10704512" y="188640"/>
              <a:ext cx="419436" cy="388988"/>
              <a:chOff x="11501102" y="171573"/>
              <a:chExt cx="419436" cy="388988"/>
            </a:xfrm>
          </p:grpSpPr>
          <p:sp>
            <p:nvSpPr>
              <p:cNvPr id="31" name="Freeform 13">
                <a:extLst>
                  <a:ext uri="{FF2B5EF4-FFF2-40B4-BE49-F238E27FC236}">
                    <a16:creationId xmlns:a16="http://schemas.microsoft.com/office/drawing/2014/main" id="{8C785DAD-61EA-4CC1-9991-1890235F73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644642" y="334376"/>
                <a:ext cx="275896" cy="226185"/>
              </a:xfrm>
              <a:custGeom>
                <a:avLst/>
                <a:gdLst/>
                <a:ahLst/>
                <a:cxnLst>
                  <a:cxn ang="0">
                    <a:pos x="125" y="107"/>
                  </a:cxn>
                  <a:cxn ang="0">
                    <a:pos x="188" y="43"/>
                  </a:cxn>
                  <a:cxn ang="0">
                    <a:pos x="141" y="0"/>
                  </a:cxn>
                  <a:cxn ang="0">
                    <a:pos x="49" y="99"/>
                  </a:cxn>
                  <a:cxn ang="0">
                    <a:pos x="0" y="144"/>
                  </a:cxn>
                  <a:cxn ang="0">
                    <a:pos x="37" y="154"/>
                  </a:cxn>
                  <a:cxn ang="0">
                    <a:pos x="125" y="125"/>
                  </a:cxn>
                  <a:cxn ang="0">
                    <a:pos x="81" y="86"/>
                  </a:cxn>
                  <a:cxn ang="0">
                    <a:pos x="125" y="107"/>
                  </a:cxn>
                </a:cxnLst>
                <a:rect l="0" t="0" r="r" b="b"/>
                <a:pathLst>
                  <a:path w="188" h="154">
                    <a:moveTo>
                      <a:pt x="125" y="107"/>
                    </a:moveTo>
                    <a:cubicBezTo>
                      <a:pt x="160" y="107"/>
                      <a:pt x="188" y="78"/>
                      <a:pt x="188" y="43"/>
                    </a:cubicBezTo>
                    <a:cubicBezTo>
                      <a:pt x="186" y="28"/>
                      <a:pt x="181" y="0"/>
                      <a:pt x="141" y="0"/>
                    </a:cubicBezTo>
                    <a:cubicBezTo>
                      <a:pt x="99" y="0"/>
                      <a:pt x="84" y="60"/>
                      <a:pt x="49" y="99"/>
                    </a:cubicBezTo>
                    <a:cubicBezTo>
                      <a:pt x="47" y="121"/>
                      <a:pt x="26" y="140"/>
                      <a:pt x="0" y="144"/>
                    </a:cubicBezTo>
                    <a:cubicBezTo>
                      <a:pt x="6" y="150"/>
                      <a:pt x="20" y="154"/>
                      <a:pt x="37" y="154"/>
                    </a:cubicBezTo>
                    <a:cubicBezTo>
                      <a:pt x="68" y="154"/>
                      <a:pt x="106" y="145"/>
                      <a:pt x="125" y="125"/>
                    </a:cubicBezTo>
                    <a:cubicBezTo>
                      <a:pt x="99" y="126"/>
                      <a:pt x="82" y="109"/>
                      <a:pt x="81" y="86"/>
                    </a:cubicBezTo>
                    <a:cubicBezTo>
                      <a:pt x="93" y="101"/>
                      <a:pt x="108" y="107"/>
                      <a:pt x="125" y="107"/>
                    </a:cubicBezTo>
                  </a:path>
                </a:pathLst>
              </a:custGeom>
              <a:solidFill>
                <a:srgbClr val="12ABD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Freeform 14">
                <a:extLst>
                  <a:ext uri="{FF2B5EF4-FFF2-40B4-BE49-F238E27FC236}">
                    <a16:creationId xmlns:a16="http://schemas.microsoft.com/office/drawing/2014/main" id="{565C99F5-9912-4C97-865A-9D00522194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501102" y="171573"/>
                <a:ext cx="419436" cy="356676"/>
              </a:xfrm>
              <a:custGeom>
                <a:avLst/>
                <a:gdLst/>
                <a:ahLst/>
                <a:cxnLst>
                  <a:cxn ang="0">
                    <a:pos x="286" y="152"/>
                  </a:cxn>
                  <a:cxn ang="0">
                    <a:pos x="237" y="51"/>
                  </a:cxn>
                  <a:cxn ang="0">
                    <a:pos x="160" y="3"/>
                  </a:cxn>
                  <a:cxn ang="0">
                    <a:pos x="153" y="0"/>
                  </a:cxn>
                  <a:cxn ang="0">
                    <a:pos x="153" y="0"/>
                  </a:cxn>
                  <a:cxn ang="0">
                    <a:pos x="0" y="158"/>
                  </a:cxn>
                  <a:cxn ang="0">
                    <a:pos x="53" y="236"/>
                  </a:cxn>
                  <a:cxn ang="0">
                    <a:pos x="107" y="237"/>
                  </a:cxn>
                  <a:cxn ang="0">
                    <a:pos x="147" y="210"/>
                  </a:cxn>
                  <a:cxn ang="0">
                    <a:pos x="239" y="111"/>
                  </a:cxn>
                  <a:cxn ang="0">
                    <a:pos x="286" y="154"/>
                  </a:cxn>
                  <a:cxn ang="0">
                    <a:pos x="286" y="152"/>
                  </a:cxn>
                </a:cxnLst>
                <a:rect l="0" t="0" r="r" b="b"/>
                <a:pathLst>
                  <a:path w="286" h="243">
                    <a:moveTo>
                      <a:pt x="286" y="152"/>
                    </a:moveTo>
                    <a:cubicBezTo>
                      <a:pt x="286" y="112"/>
                      <a:pt x="266" y="78"/>
                      <a:pt x="237" y="51"/>
                    </a:cubicBezTo>
                    <a:cubicBezTo>
                      <a:pt x="215" y="30"/>
                      <a:pt x="188" y="15"/>
                      <a:pt x="160" y="3"/>
                    </a:cubicBezTo>
                    <a:cubicBezTo>
                      <a:pt x="158" y="2"/>
                      <a:pt x="156" y="1"/>
                      <a:pt x="153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19" y="41"/>
                      <a:pt x="0" y="72"/>
                      <a:pt x="0" y="158"/>
                    </a:cubicBezTo>
                    <a:cubicBezTo>
                      <a:pt x="0" y="192"/>
                      <a:pt x="21" y="224"/>
                      <a:pt x="53" y="236"/>
                    </a:cubicBezTo>
                    <a:cubicBezTo>
                      <a:pt x="71" y="243"/>
                      <a:pt x="89" y="243"/>
                      <a:pt x="107" y="237"/>
                    </a:cubicBezTo>
                    <a:cubicBezTo>
                      <a:pt x="123" y="232"/>
                      <a:pt x="136" y="222"/>
                      <a:pt x="147" y="210"/>
                    </a:cubicBezTo>
                    <a:cubicBezTo>
                      <a:pt x="182" y="171"/>
                      <a:pt x="197" y="111"/>
                      <a:pt x="239" y="111"/>
                    </a:cubicBezTo>
                    <a:cubicBezTo>
                      <a:pt x="279" y="111"/>
                      <a:pt x="284" y="139"/>
                      <a:pt x="286" y="154"/>
                    </a:cubicBezTo>
                    <a:cubicBezTo>
                      <a:pt x="286" y="154"/>
                      <a:pt x="286" y="153"/>
                      <a:pt x="286" y="152"/>
                    </a:cubicBezTo>
                  </a:path>
                </a:pathLst>
              </a:custGeom>
              <a:solidFill>
                <a:srgbClr val="0070A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0" name="Freeform 33">
              <a:extLst>
                <a:ext uri="{FF2B5EF4-FFF2-40B4-BE49-F238E27FC236}">
                  <a16:creationId xmlns:a16="http://schemas.microsoft.com/office/drawing/2014/main" id="{BC94830A-BEC1-4967-BDD0-BB1F0B3E0E6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93043" y="211794"/>
              <a:ext cx="377337" cy="333459"/>
            </a:xfrm>
            <a:custGeom>
              <a:avLst/>
              <a:gdLst>
                <a:gd name="connsiteX0" fmla="*/ 242180 w 333452"/>
                <a:gd name="connsiteY0" fmla="*/ 21015 h 294678"/>
                <a:gd name="connsiteX1" fmla="*/ 294756 w 333452"/>
                <a:gd name="connsiteY1" fmla="*/ 294679 h 294678"/>
                <a:gd name="connsiteX2" fmla="*/ 336865 w 333452"/>
                <a:gd name="connsiteY2" fmla="*/ 294679 h 294678"/>
                <a:gd name="connsiteX3" fmla="*/ 242102 w 333452"/>
                <a:gd name="connsiteY3" fmla="*/ 0 h 294678"/>
                <a:gd name="connsiteX4" fmla="*/ 168432 w 333452"/>
                <a:gd name="connsiteY4" fmla="*/ 101664 h 294678"/>
                <a:gd name="connsiteX5" fmla="*/ 94763 w 333452"/>
                <a:gd name="connsiteY5" fmla="*/ 0 h 294678"/>
                <a:gd name="connsiteX6" fmla="*/ 0 w 333452"/>
                <a:gd name="connsiteY6" fmla="*/ 294679 h 294678"/>
                <a:gd name="connsiteX7" fmla="*/ 42108 w 333452"/>
                <a:gd name="connsiteY7" fmla="*/ 294679 h 294678"/>
                <a:gd name="connsiteX8" fmla="*/ 94763 w 333452"/>
                <a:gd name="connsiteY8" fmla="*/ 21015 h 294678"/>
                <a:gd name="connsiteX9" fmla="*/ 147417 w 333452"/>
                <a:gd name="connsiteY9" fmla="*/ 273664 h 294678"/>
                <a:gd name="connsiteX10" fmla="*/ 189525 w 333452"/>
                <a:gd name="connsiteY10" fmla="*/ 273664 h 294678"/>
                <a:gd name="connsiteX11" fmla="*/ 242180 w 333452"/>
                <a:gd name="connsiteY11" fmla="*/ 21015 h 294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3452" h="294678">
                  <a:moveTo>
                    <a:pt x="242180" y="21015"/>
                  </a:moveTo>
                  <a:cubicBezTo>
                    <a:pt x="271492" y="21015"/>
                    <a:pt x="294756" y="143850"/>
                    <a:pt x="294756" y="294679"/>
                  </a:cubicBezTo>
                  <a:lnTo>
                    <a:pt x="336865" y="294679"/>
                  </a:lnTo>
                  <a:cubicBezTo>
                    <a:pt x="336865" y="131830"/>
                    <a:pt x="294446" y="0"/>
                    <a:pt x="242102" y="0"/>
                  </a:cubicBezTo>
                  <a:cubicBezTo>
                    <a:pt x="212324" y="0"/>
                    <a:pt x="185803" y="39627"/>
                    <a:pt x="168432" y="101664"/>
                  </a:cubicBezTo>
                  <a:cubicBezTo>
                    <a:pt x="151062" y="39627"/>
                    <a:pt x="124463" y="0"/>
                    <a:pt x="94763" y="0"/>
                  </a:cubicBezTo>
                  <a:cubicBezTo>
                    <a:pt x="42418" y="0"/>
                    <a:pt x="0" y="131830"/>
                    <a:pt x="0" y="294679"/>
                  </a:cubicBezTo>
                  <a:lnTo>
                    <a:pt x="42108" y="294679"/>
                  </a:lnTo>
                  <a:cubicBezTo>
                    <a:pt x="42108" y="143540"/>
                    <a:pt x="65372" y="21015"/>
                    <a:pt x="94763" y="21015"/>
                  </a:cubicBezTo>
                  <a:cubicBezTo>
                    <a:pt x="124153" y="21015"/>
                    <a:pt x="147417" y="134156"/>
                    <a:pt x="147417" y="273664"/>
                  </a:cubicBezTo>
                  <a:lnTo>
                    <a:pt x="189525" y="273664"/>
                  </a:lnTo>
                  <a:cubicBezTo>
                    <a:pt x="189525" y="134079"/>
                    <a:pt x="212789" y="21015"/>
                    <a:pt x="242180" y="21015"/>
                  </a:cubicBezTo>
                </a:path>
              </a:pathLst>
            </a:custGeom>
            <a:solidFill>
              <a:srgbClr val="FFBC0D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 dirty="0">
                <a:solidFill>
                  <a:schemeClr val="tx1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791F472E-D519-4963-827E-2E74AC0E02B2}"/>
              </a:ext>
            </a:extLst>
          </p:cNvPr>
          <p:cNvSpPr txBox="1"/>
          <p:nvPr userDrawn="1"/>
        </p:nvSpPr>
        <p:spPr>
          <a:xfrm>
            <a:off x="602545" y="329496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07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 43">
            <a:extLst>
              <a:ext uri="{FF2B5EF4-FFF2-40B4-BE49-F238E27FC236}">
                <a16:creationId xmlns:a16="http://schemas.microsoft.com/office/drawing/2014/main" id="{9A62FEC0-F7D9-459A-BF76-78F388DD1EFF}"/>
              </a:ext>
            </a:extLst>
          </p:cNvPr>
          <p:cNvSpPr>
            <a:spLocks noChangeAspect="1"/>
          </p:cNvSpPr>
          <p:nvPr userDrawn="1"/>
        </p:nvSpPr>
        <p:spPr>
          <a:xfrm>
            <a:off x="11403095" y="137923"/>
            <a:ext cx="285158" cy="251999"/>
          </a:xfrm>
          <a:custGeom>
            <a:avLst/>
            <a:gdLst>
              <a:gd name="connsiteX0" fmla="*/ 242180 w 333452"/>
              <a:gd name="connsiteY0" fmla="*/ 21015 h 294678"/>
              <a:gd name="connsiteX1" fmla="*/ 294756 w 333452"/>
              <a:gd name="connsiteY1" fmla="*/ 294679 h 294678"/>
              <a:gd name="connsiteX2" fmla="*/ 336865 w 333452"/>
              <a:gd name="connsiteY2" fmla="*/ 294679 h 294678"/>
              <a:gd name="connsiteX3" fmla="*/ 242102 w 333452"/>
              <a:gd name="connsiteY3" fmla="*/ 0 h 294678"/>
              <a:gd name="connsiteX4" fmla="*/ 168432 w 333452"/>
              <a:gd name="connsiteY4" fmla="*/ 101664 h 294678"/>
              <a:gd name="connsiteX5" fmla="*/ 94763 w 333452"/>
              <a:gd name="connsiteY5" fmla="*/ 0 h 294678"/>
              <a:gd name="connsiteX6" fmla="*/ 0 w 333452"/>
              <a:gd name="connsiteY6" fmla="*/ 294679 h 294678"/>
              <a:gd name="connsiteX7" fmla="*/ 42108 w 333452"/>
              <a:gd name="connsiteY7" fmla="*/ 294679 h 294678"/>
              <a:gd name="connsiteX8" fmla="*/ 94763 w 333452"/>
              <a:gd name="connsiteY8" fmla="*/ 21015 h 294678"/>
              <a:gd name="connsiteX9" fmla="*/ 147417 w 333452"/>
              <a:gd name="connsiteY9" fmla="*/ 273664 h 294678"/>
              <a:gd name="connsiteX10" fmla="*/ 189525 w 333452"/>
              <a:gd name="connsiteY10" fmla="*/ 273664 h 294678"/>
              <a:gd name="connsiteX11" fmla="*/ 242180 w 333452"/>
              <a:gd name="connsiteY11" fmla="*/ 21015 h 294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33452" h="294678">
                <a:moveTo>
                  <a:pt x="242180" y="21015"/>
                </a:moveTo>
                <a:cubicBezTo>
                  <a:pt x="271492" y="21015"/>
                  <a:pt x="294756" y="143850"/>
                  <a:pt x="294756" y="294679"/>
                </a:cubicBezTo>
                <a:lnTo>
                  <a:pt x="336865" y="294679"/>
                </a:lnTo>
                <a:cubicBezTo>
                  <a:pt x="336865" y="131830"/>
                  <a:pt x="294446" y="0"/>
                  <a:pt x="242102" y="0"/>
                </a:cubicBezTo>
                <a:cubicBezTo>
                  <a:pt x="212324" y="0"/>
                  <a:pt x="185803" y="39627"/>
                  <a:pt x="168432" y="101664"/>
                </a:cubicBezTo>
                <a:cubicBezTo>
                  <a:pt x="151062" y="39627"/>
                  <a:pt x="124463" y="0"/>
                  <a:pt x="94763" y="0"/>
                </a:cubicBezTo>
                <a:cubicBezTo>
                  <a:pt x="42418" y="0"/>
                  <a:pt x="0" y="131830"/>
                  <a:pt x="0" y="294679"/>
                </a:cubicBezTo>
                <a:lnTo>
                  <a:pt x="42108" y="294679"/>
                </a:lnTo>
                <a:cubicBezTo>
                  <a:pt x="42108" y="143540"/>
                  <a:pt x="65372" y="21015"/>
                  <a:pt x="94763" y="21015"/>
                </a:cubicBezTo>
                <a:cubicBezTo>
                  <a:pt x="124153" y="21015"/>
                  <a:pt x="147417" y="134156"/>
                  <a:pt x="147417" y="273664"/>
                </a:cubicBezTo>
                <a:lnTo>
                  <a:pt x="189525" y="273664"/>
                </a:lnTo>
                <a:cubicBezTo>
                  <a:pt x="189525" y="134079"/>
                  <a:pt x="212789" y="21015"/>
                  <a:pt x="242180" y="21015"/>
                </a:cubicBezTo>
              </a:path>
            </a:pathLst>
          </a:custGeom>
          <a:solidFill>
            <a:schemeClr val="bg1"/>
          </a:solidFill>
          <a:ln w="7620" cap="flat">
            <a:noFill/>
            <a:prstDash val="solid"/>
            <a:miter/>
          </a:ln>
        </p:spPr>
        <p:txBody>
          <a:bodyPr rtlCol="0" anchor="ctr"/>
          <a:lstStyle/>
          <a:p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2BB03B-283F-4763-92C3-C0C4FAAD9EB3}"/>
              </a:ext>
            </a:extLst>
          </p:cNvPr>
          <p:cNvSpPr txBox="1"/>
          <p:nvPr userDrawn="1"/>
        </p:nvSpPr>
        <p:spPr>
          <a:xfrm>
            <a:off x="11028144" y="156200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FOR</a:t>
            </a:r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3413AC28-60CC-4C47-8397-BE6796DD18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25" t="28144" r="12201" b="39801"/>
          <a:stretch/>
        </p:blipFill>
        <p:spPr>
          <a:xfrm>
            <a:off x="10744200" y="119877"/>
            <a:ext cx="314280" cy="28809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16E3D85A-D95D-4AEB-AECF-6F65286C11A7}"/>
              </a:ext>
            </a:extLst>
          </p:cNvPr>
          <p:cNvGrpSpPr/>
          <p:nvPr userDrawn="1"/>
        </p:nvGrpSpPr>
        <p:grpSpPr>
          <a:xfrm>
            <a:off x="10669223" y="241979"/>
            <a:ext cx="956632" cy="293963"/>
            <a:chOff x="10704512" y="188640"/>
            <a:chExt cx="1265868" cy="388988"/>
          </a:xfrm>
        </p:grpSpPr>
        <p:grpSp>
          <p:nvGrpSpPr>
            <p:cNvPr id="15" name="Groupe 1">
              <a:extLst>
                <a:ext uri="{FF2B5EF4-FFF2-40B4-BE49-F238E27FC236}">
                  <a16:creationId xmlns:a16="http://schemas.microsoft.com/office/drawing/2014/main" id="{86CFE420-530B-4ED3-B55A-D8C7FE6166BE}"/>
                </a:ext>
              </a:extLst>
            </p:cNvPr>
            <p:cNvGrpSpPr/>
            <p:nvPr userDrawn="1"/>
          </p:nvGrpSpPr>
          <p:grpSpPr>
            <a:xfrm>
              <a:off x="10704512" y="188640"/>
              <a:ext cx="419436" cy="388988"/>
              <a:chOff x="11501102" y="171573"/>
              <a:chExt cx="419436" cy="388988"/>
            </a:xfrm>
          </p:grpSpPr>
          <p:sp>
            <p:nvSpPr>
              <p:cNvPr id="17" name="Freeform 13">
                <a:extLst>
                  <a:ext uri="{FF2B5EF4-FFF2-40B4-BE49-F238E27FC236}">
                    <a16:creationId xmlns:a16="http://schemas.microsoft.com/office/drawing/2014/main" id="{99D43474-079A-449A-8F89-8DE40EB0FE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644642" y="334376"/>
                <a:ext cx="275896" cy="226185"/>
              </a:xfrm>
              <a:custGeom>
                <a:avLst/>
                <a:gdLst/>
                <a:ahLst/>
                <a:cxnLst>
                  <a:cxn ang="0">
                    <a:pos x="125" y="107"/>
                  </a:cxn>
                  <a:cxn ang="0">
                    <a:pos x="188" y="43"/>
                  </a:cxn>
                  <a:cxn ang="0">
                    <a:pos x="141" y="0"/>
                  </a:cxn>
                  <a:cxn ang="0">
                    <a:pos x="49" y="99"/>
                  </a:cxn>
                  <a:cxn ang="0">
                    <a:pos x="0" y="144"/>
                  </a:cxn>
                  <a:cxn ang="0">
                    <a:pos x="37" y="154"/>
                  </a:cxn>
                  <a:cxn ang="0">
                    <a:pos x="125" y="125"/>
                  </a:cxn>
                  <a:cxn ang="0">
                    <a:pos x="81" y="86"/>
                  </a:cxn>
                  <a:cxn ang="0">
                    <a:pos x="125" y="107"/>
                  </a:cxn>
                </a:cxnLst>
                <a:rect l="0" t="0" r="r" b="b"/>
                <a:pathLst>
                  <a:path w="188" h="154">
                    <a:moveTo>
                      <a:pt x="125" y="107"/>
                    </a:moveTo>
                    <a:cubicBezTo>
                      <a:pt x="160" y="107"/>
                      <a:pt x="188" y="78"/>
                      <a:pt x="188" y="43"/>
                    </a:cubicBezTo>
                    <a:cubicBezTo>
                      <a:pt x="186" y="28"/>
                      <a:pt x="181" y="0"/>
                      <a:pt x="141" y="0"/>
                    </a:cubicBezTo>
                    <a:cubicBezTo>
                      <a:pt x="99" y="0"/>
                      <a:pt x="84" y="60"/>
                      <a:pt x="49" y="99"/>
                    </a:cubicBezTo>
                    <a:cubicBezTo>
                      <a:pt x="47" y="121"/>
                      <a:pt x="26" y="140"/>
                      <a:pt x="0" y="144"/>
                    </a:cubicBezTo>
                    <a:cubicBezTo>
                      <a:pt x="6" y="150"/>
                      <a:pt x="20" y="154"/>
                      <a:pt x="37" y="154"/>
                    </a:cubicBezTo>
                    <a:cubicBezTo>
                      <a:pt x="68" y="154"/>
                      <a:pt x="106" y="145"/>
                      <a:pt x="125" y="125"/>
                    </a:cubicBezTo>
                    <a:cubicBezTo>
                      <a:pt x="99" y="126"/>
                      <a:pt x="82" y="109"/>
                      <a:pt x="81" y="86"/>
                    </a:cubicBezTo>
                    <a:cubicBezTo>
                      <a:pt x="93" y="101"/>
                      <a:pt x="108" y="107"/>
                      <a:pt x="125" y="107"/>
                    </a:cubicBezTo>
                  </a:path>
                </a:pathLst>
              </a:custGeom>
              <a:solidFill>
                <a:srgbClr val="12ABD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Freeform 14">
                <a:extLst>
                  <a:ext uri="{FF2B5EF4-FFF2-40B4-BE49-F238E27FC236}">
                    <a16:creationId xmlns:a16="http://schemas.microsoft.com/office/drawing/2014/main" id="{8EF5F310-0117-42B3-B5AA-EFAA7EE6D0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501102" y="171573"/>
                <a:ext cx="419436" cy="356676"/>
              </a:xfrm>
              <a:custGeom>
                <a:avLst/>
                <a:gdLst/>
                <a:ahLst/>
                <a:cxnLst>
                  <a:cxn ang="0">
                    <a:pos x="286" y="152"/>
                  </a:cxn>
                  <a:cxn ang="0">
                    <a:pos x="237" y="51"/>
                  </a:cxn>
                  <a:cxn ang="0">
                    <a:pos x="160" y="3"/>
                  </a:cxn>
                  <a:cxn ang="0">
                    <a:pos x="153" y="0"/>
                  </a:cxn>
                  <a:cxn ang="0">
                    <a:pos x="153" y="0"/>
                  </a:cxn>
                  <a:cxn ang="0">
                    <a:pos x="0" y="158"/>
                  </a:cxn>
                  <a:cxn ang="0">
                    <a:pos x="53" y="236"/>
                  </a:cxn>
                  <a:cxn ang="0">
                    <a:pos x="107" y="237"/>
                  </a:cxn>
                  <a:cxn ang="0">
                    <a:pos x="147" y="210"/>
                  </a:cxn>
                  <a:cxn ang="0">
                    <a:pos x="239" y="111"/>
                  </a:cxn>
                  <a:cxn ang="0">
                    <a:pos x="286" y="154"/>
                  </a:cxn>
                  <a:cxn ang="0">
                    <a:pos x="286" y="152"/>
                  </a:cxn>
                </a:cxnLst>
                <a:rect l="0" t="0" r="r" b="b"/>
                <a:pathLst>
                  <a:path w="286" h="243">
                    <a:moveTo>
                      <a:pt x="286" y="152"/>
                    </a:moveTo>
                    <a:cubicBezTo>
                      <a:pt x="286" y="112"/>
                      <a:pt x="266" y="78"/>
                      <a:pt x="237" y="51"/>
                    </a:cubicBezTo>
                    <a:cubicBezTo>
                      <a:pt x="215" y="30"/>
                      <a:pt x="188" y="15"/>
                      <a:pt x="160" y="3"/>
                    </a:cubicBezTo>
                    <a:cubicBezTo>
                      <a:pt x="158" y="2"/>
                      <a:pt x="156" y="1"/>
                      <a:pt x="153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19" y="41"/>
                      <a:pt x="0" y="72"/>
                      <a:pt x="0" y="158"/>
                    </a:cubicBezTo>
                    <a:cubicBezTo>
                      <a:pt x="0" y="192"/>
                      <a:pt x="21" y="224"/>
                      <a:pt x="53" y="236"/>
                    </a:cubicBezTo>
                    <a:cubicBezTo>
                      <a:pt x="71" y="243"/>
                      <a:pt x="89" y="243"/>
                      <a:pt x="107" y="237"/>
                    </a:cubicBezTo>
                    <a:cubicBezTo>
                      <a:pt x="123" y="232"/>
                      <a:pt x="136" y="222"/>
                      <a:pt x="147" y="210"/>
                    </a:cubicBezTo>
                    <a:cubicBezTo>
                      <a:pt x="182" y="171"/>
                      <a:pt x="197" y="111"/>
                      <a:pt x="239" y="111"/>
                    </a:cubicBezTo>
                    <a:cubicBezTo>
                      <a:pt x="279" y="111"/>
                      <a:pt x="284" y="139"/>
                      <a:pt x="286" y="154"/>
                    </a:cubicBezTo>
                    <a:cubicBezTo>
                      <a:pt x="286" y="154"/>
                      <a:pt x="286" y="153"/>
                      <a:pt x="286" y="152"/>
                    </a:cubicBezTo>
                  </a:path>
                </a:pathLst>
              </a:custGeom>
              <a:solidFill>
                <a:srgbClr val="0070A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6" name="Freeform 33">
              <a:extLst>
                <a:ext uri="{FF2B5EF4-FFF2-40B4-BE49-F238E27FC236}">
                  <a16:creationId xmlns:a16="http://schemas.microsoft.com/office/drawing/2014/main" id="{B5CCEE3C-9A4A-4095-BA48-0F8743272A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93043" y="211794"/>
              <a:ext cx="377337" cy="333459"/>
            </a:xfrm>
            <a:custGeom>
              <a:avLst/>
              <a:gdLst>
                <a:gd name="connsiteX0" fmla="*/ 242180 w 333452"/>
                <a:gd name="connsiteY0" fmla="*/ 21015 h 294678"/>
                <a:gd name="connsiteX1" fmla="*/ 294756 w 333452"/>
                <a:gd name="connsiteY1" fmla="*/ 294679 h 294678"/>
                <a:gd name="connsiteX2" fmla="*/ 336865 w 333452"/>
                <a:gd name="connsiteY2" fmla="*/ 294679 h 294678"/>
                <a:gd name="connsiteX3" fmla="*/ 242102 w 333452"/>
                <a:gd name="connsiteY3" fmla="*/ 0 h 294678"/>
                <a:gd name="connsiteX4" fmla="*/ 168432 w 333452"/>
                <a:gd name="connsiteY4" fmla="*/ 101664 h 294678"/>
                <a:gd name="connsiteX5" fmla="*/ 94763 w 333452"/>
                <a:gd name="connsiteY5" fmla="*/ 0 h 294678"/>
                <a:gd name="connsiteX6" fmla="*/ 0 w 333452"/>
                <a:gd name="connsiteY6" fmla="*/ 294679 h 294678"/>
                <a:gd name="connsiteX7" fmla="*/ 42108 w 333452"/>
                <a:gd name="connsiteY7" fmla="*/ 294679 h 294678"/>
                <a:gd name="connsiteX8" fmla="*/ 94763 w 333452"/>
                <a:gd name="connsiteY8" fmla="*/ 21015 h 294678"/>
                <a:gd name="connsiteX9" fmla="*/ 147417 w 333452"/>
                <a:gd name="connsiteY9" fmla="*/ 273664 h 294678"/>
                <a:gd name="connsiteX10" fmla="*/ 189525 w 333452"/>
                <a:gd name="connsiteY10" fmla="*/ 273664 h 294678"/>
                <a:gd name="connsiteX11" fmla="*/ 242180 w 333452"/>
                <a:gd name="connsiteY11" fmla="*/ 21015 h 294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3452" h="294678">
                  <a:moveTo>
                    <a:pt x="242180" y="21015"/>
                  </a:moveTo>
                  <a:cubicBezTo>
                    <a:pt x="271492" y="21015"/>
                    <a:pt x="294756" y="143850"/>
                    <a:pt x="294756" y="294679"/>
                  </a:cubicBezTo>
                  <a:lnTo>
                    <a:pt x="336865" y="294679"/>
                  </a:lnTo>
                  <a:cubicBezTo>
                    <a:pt x="336865" y="131830"/>
                    <a:pt x="294446" y="0"/>
                    <a:pt x="242102" y="0"/>
                  </a:cubicBezTo>
                  <a:cubicBezTo>
                    <a:pt x="212324" y="0"/>
                    <a:pt x="185803" y="39627"/>
                    <a:pt x="168432" y="101664"/>
                  </a:cubicBezTo>
                  <a:cubicBezTo>
                    <a:pt x="151062" y="39627"/>
                    <a:pt x="124463" y="0"/>
                    <a:pt x="94763" y="0"/>
                  </a:cubicBezTo>
                  <a:cubicBezTo>
                    <a:pt x="42418" y="0"/>
                    <a:pt x="0" y="131830"/>
                    <a:pt x="0" y="294679"/>
                  </a:cubicBezTo>
                  <a:lnTo>
                    <a:pt x="42108" y="294679"/>
                  </a:lnTo>
                  <a:cubicBezTo>
                    <a:pt x="42108" y="143540"/>
                    <a:pt x="65372" y="21015"/>
                    <a:pt x="94763" y="21015"/>
                  </a:cubicBezTo>
                  <a:cubicBezTo>
                    <a:pt x="124153" y="21015"/>
                    <a:pt x="147417" y="134156"/>
                    <a:pt x="147417" y="273664"/>
                  </a:cubicBezTo>
                  <a:lnTo>
                    <a:pt x="189525" y="273664"/>
                  </a:lnTo>
                  <a:cubicBezTo>
                    <a:pt x="189525" y="134079"/>
                    <a:pt x="212789" y="21015"/>
                    <a:pt x="242180" y="21015"/>
                  </a:cubicBezTo>
                </a:path>
              </a:pathLst>
            </a:custGeom>
            <a:solidFill>
              <a:srgbClr val="FFBC0D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 dirty="0">
                <a:solidFill>
                  <a:schemeClr val="tx1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143091B6-D8C7-433B-9CEA-AAE6C7ACD001}"/>
              </a:ext>
            </a:extLst>
          </p:cNvPr>
          <p:cNvSpPr txBox="1"/>
          <p:nvPr userDrawn="1"/>
        </p:nvSpPr>
        <p:spPr>
          <a:xfrm>
            <a:off x="10965745" y="281238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94D5AA-AC7D-4BF4-A66A-3B973C1C6D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33" b="2502"/>
          <a:stretch/>
        </p:blipFill>
        <p:spPr>
          <a:xfrm>
            <a:off x="-12700" y="-1"/>
            <a:ext cx="12204700" cy="6858001"/>
          </a:xfrm>
          <a:prstGeom prst="rect">
            <a:avLst/>
          </a:prstGeom>
        </p:spPr>
      </p:pic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9556" y="1340665"/>
            <a:ext cx="4780972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24940" y="272277"/>
            <a:ext cx="4800600" cy="1068388"/>
          </a:xfrm>
          <a:prstGeom prst="rect">
            <a:avLst/>
          </a:prstGeom>
        </p:spPr>
        <p:txBody>
          <a:bodyPr lIns="0" anchor="ctr"/>
          <a:lstStyle>
            <a:lvl1pPr>
              <a:defRPr sz="2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20" name="Freeform 43">
            <a:extLst>
              <a:ext uri="{FF2B5EF4-FFF2-40B4-BE49-F238E27FC236}">
                <a16:creationId xmlns:a16="http://schemas.microsoft.com/office/drawing/2014/main" id="{F6E2CA8D-9F1E-4109-BBF4-B02BF026D942}"/>
              </a:ext>
            </a:extLst>
          </p:cNvPr>
          <p:cNvSpPr>
            <a:spLocks noChangeAspect="1"/>
          </p:cNvSpPr>
          <p:nvPr userDrawn="1"/>
        </p:nvSpPr>
        <p:spPr>
          <a:xfrm>
            <a:off x="11555495" y="290323"/>
            <a:ext cx="285158" cy="251999"/>
          </a:xfrm>
          <a:custGeom>
            <a:avLst/>
            <a:gdLst>
              <a:gd name="connsiteX0" fmla="*/ 242180 w 333452"/>
              <a:gd name="connsiteY0" fmla="*/ 21015 h 294678"/>
              <a:gd name="connsiteX1" fmla="*/ 294756 w 333452"/>
              <a:gd name="connsiteY1" fmla="*/ 294679 h 294678"/>
              <a:gd name="connsiteX2" fmla="*/ 336865 w 333452"/>
              <a:gd name="connsiteY2" fmla="*/ 294679 h 294678"/>
              <a:gd name="connsiteX3" fmla="*/ 242102 w 333452"/>
              <a:gd name="connsiteY3" fmla="*/ 0 h 294678"/>
              <a:gd name="connsiteX4" fmla="*/ 168432 w 333452"/>
              <a:gd name="connsiteY4" fmla="*/ 101664 h 294678"/>
              <a:gd name="connsiteX5" fmla="*/ 94763 w 333452"/>
              <a:gd name="connsiteY5" fmla="*/ 0 h 294678"/>
              <a:gd name="connsiteX6" fmla="*/ 0 w 333452"/>
              <a:gd name="connsiteY6" fmla="*/ 294679 h 294678"/>
              <a:gd name="connsiteX7" fmla="*/ 42108 w 333452"/>
              <a:gd name="connsiteY7" fmla="*/ 294679 h 294678"/>
              <a:gd name="connsiteX8" fmla="*/ 94763 w 333452"/>
              <a:gd name="connsiteY8" fmla="*/ 21015 h 294678"/>
              <a:gd name="connsiteX9" fmla="*/ 147417 w 333452"/>
              <a:gd name="connsiteY9" fmla="*/ 273664 h 294678"/>
              <a:gd name="connsiteX10" fmla="*/ 189525 w 333452"/>
              <a:gd name="connsiteY10" fmla="*/ 273664 h 294678"/>
              <a:gd name="connsiteX11" fmla="*/ 242180 w 333452"/>
              <a:gd name="connsiteY11" fmla="*/ 21015 h 294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33452" h="294678">
                <a:moveTo>
                  <a:pt x="242180" y="21015"/>
                </a:moveTo>
                <a:cubicBezTo>
                  <a:pt x="271492" y="21015"/>
                  <a:pt x="294756" y="143850"/>
                  <a:pt x="294756" y="294679"/>
                </a:cubicBezTo>
                <a:lnTo>
                  <a:pt x="336865" y="294679"/>
                </a:lnTo>
                <a:cubicBezTo>
                  <a:pt x="336865" y="131830"/>
                  <a:pt x="294446" y="0"/>
                  <a:pt x="242102" y="0"/>
                </a:cubicBezTo>
                <a:cubicBezTo>
                  <a:pt x="212324" y="0"/>
                  <a:pt x="185803" y="39627"/>
                  <a:pt x="168432" y="101664"/>
                </a:cubicBezTo>
                <a:cubicBezTo>
                  <a:pt x="151062" y="39627"/>
                  <a:pt x="124463" y="0"/>
                  <a:pt x="94763" y="0"/>
                </a:cubicBezTo>
                <a:cubicBezTo>
                  <a:pt x="42418" y="0"/>
                  <a:pt x="0" y="131830"/>
                  <a:pt x="0" y="294679"/>
                </a:cubicBezTo>
                <a:lnTo>
                  <a:pt x="42108" y="294679"/>
                </a:lnTo>
                <a:cubicBezTo>
                  <a:pt x="42108" y="143540"/>
                  <a:pt x="65372" y="21015"/>
                  <a:pt x="94763" y="21015"/>
                </a:cubicBezTo>
                <a:cubicBezTo>
                  <a:pt x="124153" y="21015"/>
                  <a:pt x="147417" y="134156"/>
                  <a:pt x="147417" y="273664"/>
                </a:cubicBezTo>
                <a:lnTo>
                  <a:pt x="189525" y="273664"/>
                </a:lnTo>
                <a:cubicBezTo>
                  <a:pt x="189525" y="134079"/>
                  <a:pt x="212789" y="21015"/>
                  <a:pt x="242180" y="21015"/>
                </a:cubicBezTo>
              </a:path>
            </a:pathLst>
          </a:custGeom>
          <a:solidFill>
            <a:schemeClr val="bg1"/>
          </a:solidFill>
          <a:ln w="7620" cap="flat">
            <a:noFill/>
            <a:prstDash val="solid"/>
            <a:miter/>
          </a:ln>
        </p:spPr>
        <p:txBody>
          <a:bodyPr rtlCol="0" anchor="ctr"/>
          <a:lstStyle/>
          <a:p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3528BBE-73D7-4114-9FAA-69BF4CE78ABF}"/>
              </a:ext>
            </a:extLst>
          </p:cNvPr>
          <p:cNvSpPr txBox="1"/>
          <p:nvPr userDrawn="1"/>
        </p:nvSpPr>
        <p:spPr>
          <a:xfrm>
            <a:off x="11180544" y="308600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FOR</a:t>
            </a:r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3" name="Picture 22" descr="A close up of a logo&#10;&#10;Description automatically generated">
            <a:extLst>
              <a:ext uri="{FF2B5EF4-FFF2-40B4-BE49-F238E27FC236}">
                <a16:creationId xmlns:a16="http://schemas.microsoft.com/office/drawing/2014/main" id="{27D6885E-AD31-49E9-8D8D-561CEBF71C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25" t="28144" r="12201" b="39801"/>
          <a:stretch/>
        </p:blipFill>
        <p:spPr>
          <a:xfrm>
            <a:off x="10896600" y="272277"/>
            <a:ext cx="314280" cy="288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092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CBBEDE6-6EB3-E741-BFA2-2719034A4D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608168" y="2708920"/>
            <a:ext cx="3910162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3200" b="1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08168" y="4326947"/>
            <a:ext cx="3910161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52" name="Graphic 8">
            <a:extLst>
              <a:ext uri="{FF2B5EF4-FFF2-40B4-BE49-F238E27FC236}">
                <a16:creationId xmlns:a16="http://schemas.microsoft.com/office/drawing/2014/main" id="{6A0315AA-BF70-4FB6-B561-124E40BEC5A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28042" y="325178"/>
            <a:ext cx="1547154" cy="184040"/>
            <a:chOff x="5664200" y="1340768"/>
            <a:chExt cx="17981972" cy="2139032"/>
          </a:xfrm>
          <a:solidFill>
            <a:srgbClr val="000000"/>
          </a:solidFill>
        </p:grpSpPr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EF1AEFC8-1139-4474-B511-FA68659537D3}"/>
                </a:ext>
              </a:extLst>
            </p:cNvPr>
            <p:cNvSpPr/>
            <p:nvPr/>
          </p:nvSpPr>
          <p:spPr>
            <a:xfrm>
              <a:off x="8644870" y="1684010"/>
              <a:ext cx="1798197" cy="1750117"/>
            </a:xfrm>
            <a:custGeom>
              <a:avLst/>
              <a:gdLst>
                <a:gd name="connsiteX0" fmla="*/ 1281057 w 1798197"/>
                <a:gd name="connsiteY0" fmla="*/ 693217 h 1750117"/>
                <a:gd name="connsiteX1" fmla="*/ 987352 w 1798197"/>
                <a:gd name="connsiteY1" fmla="*/ 434588 h 1750117"/>
                <a:gd name="connsiteX2" fmla="*/ 601738 w 1798197"/>
                <a:gd name="connsiteY2" fmla="*/ 951845 h 1750117"/>
                <a:gd name="connsiteX3" fmla="*/ 957381 w 1798197"/>
                <a:gd name="connsiteY3" fmla="*/ 1406876 h 1750117"/>
                <a:gd name="connsiteX4" fmla="*/ 1298555 w 1798197"/>
                <a:gd name="connsiteY4" fmla="*/ 1122384 h 1750117"/>
                <a:gd name="connsiteX5" fmla="*/ 1299039 w 1798197"/>
                <a:gd name="connsiteY5" fmla="*/ 1115189 h 1750117"/>
                <a:gd name="connsiteX6" fmla="*/ 1880456 w 1798197"/>
                <a:gd name="connsiteY6" fmla="*/ 1115189 h 1750117"/>
                <a:gd name="connsiteX7" fmla="*/ 959379 w 1798197"/>
                <a:gd name="connsiteY7" fmla="*/ 1854128 h 1750117"/>
                <a:gd name="connsiteX8" fmla="*/ 3708 w 1798197"/>
                <a:gd name="connsiteY8" fmla="*/ 1029520 h 1750117"/>
                <a:gd name="connsiteX9" fmla="*/ 2339 w 1798197"/>
                <a:gd name="connsiteY9" fmla="*/ 955734 h 1750117"/>
                <a:gd name="connsiteX10" fmla="*/ 852209 w 1798197"/>
                <a:gd name="connsiteY10" fmla="*/ 2239 h 1750117"/>
                <a:gd name="connsiteX11" fmla="*/ 959379 w 1798197"/>
                <a:gd name="connsiteY11" fmla="*/ 948 h 1750117"/>
                <a:gd name="connsiteX12" fmla="*/ 1862474 w 1798197"/>
                <a:gd name="connsiteY12" fmla="*/ 693217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8197" h="1750117">
                  <a:moveTo>
                    <a:pt x="1281057" y="693217"/>
                  </a:moveTo>
                  <a:cubicBezTo>
                    <a:pt x="1272452" y="543270"/>
                    <a:pt x="1141507" y="427964"/>
                    <a:pt x="987352" y="434588"/>
                  </a:cubicBezTo>
                  <a:cubicBezTo>
                    <a:pt x="653686" y="434588"/>
                    <a:pt x="601738" y="708773"/>
                    <a:pt x="601738" y="951845"/>
                  </a:cubicBezTo>
                  <a:cubicBezTo>
                    <a:pt x="601738" y="1194917"/>
                    <a:pt x="703636" y="1406876"/>
                    <a:pt x="957381" y="1406876"/>
                  </a:cubicBezTo>
                  <a:cubicBezTo>
                    <a:pt x="1132312" y="1420009"/>
                    <a:pt x="1285061" y="1292638"/>
                    <a:pt x="1298555" y="1122384"/>
                  </a:cubicBezTo>
                  <a:cubicBezTo>
                    <a:pt x="1298745" y="1119988"/>
                    <a:pt x="1298906" y="1117589"/>
                    <a:pt x="1299039" y="1115189"/>
                  </a:cubicBezTo>
                  <a:lnTo>
                    <a:pt x="1880456" y="1115189"/>
                  </a:lnTo>
                  <a:cubicBezTo>
                    <a:pt x="1826510" y="1583832"/>
                    <a:pt x="1446891" y="1854128"/>
                    <a:pt x="959379" y="1854128"/>
                  </a:cubicBezTo>
                  <a:cubicBezTo>
                    <a:pt x="461513" y="1883264"/>
                    <a:pt x="33645" y="1514074"/>
                    <a:pt x="3708" y="1029520"/>
                  </a:cubicBezTo>
                  <a:cubicBezTo>
                    <a:pt x="2191" y="1004954"/>
                    <a:pt x="1734" y="980337"/>
                    <a:pt x="2339" y="955734"/>
                  </a:cubicBezTo>
                  <a:cubicBezTo>
                    <a:pt x="-33510" y="464023"/>
                    <a:pt x="346990" y="37129"/>
                    <a:pt x="852209" y="2239"/>
                  </a:cubicBezTo>
                  <a:cubicBezTo>
                    <a:pt x="887876" y="-225"/>
                    <a:pt x="923660" y="-655"/>
                    <a:pt x="959379" y="948"/>
                  </a:cubicBezTo>
                  <a:cubicBezTo>
                    <a:pt x="1414923" y="948"/>
                    <a:pt x="1814522" y="240131"/>
                    <a:pt x="1862474" y="693217"/>
                  </a:cubicBez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624FBE26-8DA7-46E0-A523-C34BCA62EEAA}"/>
                </a:ext>
              </a:extLst>
            </p:cNvPr>
            <p:cNvSpPr/>
            <p:nvPr/>
          </p:nvSpPr>
          <p:spPr>
            <a:xfrm>
              <a:off x="14874966" y="1682397"/>
              <a:ext cx="1798197" cy="1750117"/>
            </a:xfrm>
            <a:custGeom>
              <a:avLst/>
              <a:gdLst>
                <a:gd name="connsiteX0" fmla="*/ 9991 w 1798197"/>
                <a:gd name="connsiteY0" fmla="*/ 47285 h 1750117"/>
                <a:gd name="connsiteX1" fmla="*/ 589409 w 1798197"/>
                <a:gd name="connsiteY1" fmla="*/ 47285 h 1750117"/>
                <a:gd name="connsiteX2" fmla="*/ 589409 w 1798197"/>
                <a:gd name="connsiteY2" fmla="*/ 300080 h 1750117"/>
                <a:gd name="connsiteX3" fmla="*/ 589409 w 1798197"/>
                <a:gd name="connsiteY3" fmla="*/ 300080 h 1750117"/>
                <a:gd name="connsiteX4" fmla="*/ 1140856 w 1798197"/>
                <a:gd name="connsiteY4" fmla="*/ 616 h 1750117"/>
                <a:gd name="connsiteX5" fmla="*/ 1822174 w 1798197"/>
                <a:gd name="connsiteY5" fmla="*/ 679272 h 1750117"/>
                <a:gd name="connsiteX6" fmla="*/ 1822174 w 1798197"/>
                <a:gd name="connsiteY6" fmla="*/ 1797403 h 1750117"/>
                <a:gd name="connsiteX7" fmla="*/ 1222775 w 1798197"/>
                <a:gd name="connsiteY7" fmla="*/ 1797403 h 1750117"/>
                <a:gd name="connsiteX8" fmla="*/ 1222775 w 1798197"/>
                <a:gd name="connsiteY8" fmla="*/ 957346 h 1750117"/>
                <a:gd name="connsiteX9" fmla="*/ 923075 w 1798197"/>
                <a:gd name="connsiteY9" fmla="*/ 473147 h 1750117"/>
                <a:gd name="connsiteX10" fmla="*/ 599399 w 1798197"/>
                <a:gd name="connsiteY10" fmla="*/ 895120 h 1750117"/>
                <a:gd name="connsiteX11" fmla="*/ 599399 w 1798197"/>
                <a:gd name="connsiteY11" fmla="*/ 1797403 h 1750117"/>
                <a:gd name="connsiteX12" fmla="*/ 0 w 1798197"/>
                <a:gd name="connsiteY12" fmla="*/ 1797403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8197" h="1750117">
                  <a:moveTo>
                    <a:pt x="9991" y="47285"/>
                  </a:moveTo>
                  <a:lnTo>
                    <a:pt x="589409" y="47285"/>
                  </a:lnTo>
                  <a:lnTo>
                    <a:pt x="589409" y="300080"/>
                  </a:lnTo>
                  <a:lnTo>
                    <a:pt x="589409" y="300080"/>
                  </a:lnTo>
                  <a:cubicBezTo>
                    <a:pt x="699916" y="106473"/>
                    <a:pt x="913537" y="-9534"/>
                    <a:pt x="1140856" y="616"/>
                  </a:cubicBezTo>
                  <a:cubicBezTo>
                    <a:pt x="1740256" y="616"/>
                    <a:pt x="1822174" y="426477"/>
                    <a:pt x="1822174" y="679272"/>
                  </a:cubicBezTo>
                  <a:lnTo>
                    <a:pt x="1822174" y="1797403"/>
                  </a:lnTo>
                  <a:lnTo>
                    <a:pt x="1222775" y="1797403"/>
                  </a:lnTo>
                  <a:lnTo>
                    <a:pt x="1222775" y="957346"/>
                  </a:lnTo>
                  <a:cubicBezTo>
                    <a:pt x="1222775" y="718164"/>
                    <a:pt x="1234762" y="473147"/>
                    <a:pt x="923075" y="473147"/>
                  </a:cubicBezTo>
                  <a:cubicBezTo>
                    <a:pt x="723275" y="473147"/>
                    <a:pt x="599399" y="638436"/>
                    <a:pt x="599399" y="895120"/>
                  </a:cubicBezTo>
                  <a:lnTo>
                    <a:pt x="599399" y="1797403"/>
                  </a:lnTo>
                  <a:lnTo>
                    <a:pt x="0" y="1797403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873598CF-F0B7-4331-9F45-A6D91D05851E}"/>
                </a:ext>
              </a:extLst>
            </p:cNvPr>
            <p:cNvSpPr/>
            <p:nvPr/>
          </p:nvSpPr>
          <p:spPr>
            <a:xfrm>
              <a:off x="16836998" y="1682369"/>
              <a:ext cx="1798197" cy="1750117"/>
            </a:xfrm>
            <a:custGeom>
              <a:avLst/>
              <a:gdLst>
                <a:gd name="connsiteX0" fmla="*/ 67932 w 1798197"/>
                <a:gd name="connsiteY0" fmla="*/ 591795 h 1750117"/>
                <a:gd name="connsiteX1" fmla="*/ 353646 w 1798197"/>
                <a:gd name="connsiteY1" fmla="*/ 123152 h 1750117"/>
                <a:gd name="connsiteX2" fmla="*/ 935063 w 1798197"/>
                <a:gd name="connsiteY2" fmla="*/ 644 h 1750117"/>
                <a:gd name="connsiteX3" fmla="*/ 1786210 w 1798197"/>
                <a:gd name="connsiteY3" fmla="*/ 584016 h 1750117"/>
                <a:gd name="connsiteX4" fmla="*/ 1786210 w 1798197"/>
                <a:gd name="connsiteY4" fmla="*/ 1356012 h 1750117"/>
                <a:gd name="connsiteX5" fmla="*/ 1858138 w 1798197"/>
                <a:gd name="connsiteY5" fmla="*/ 1797431 h 1750117"/>
                <a:gd name="connsiteX6" fmla="*/ 1258739 w 1798197"/>
                <a:gd name="connsiteY6" fmla="*/ 1797431 h 1750117"/>
                <a:gd name="connsiteX7" fmla="*/ 1222775 w 1798197"/>
                <a:gd name="connsiteY7" fmla="*/ 1632142 h 1750117"/>
                <a:gd name="connsiteX8" fmla="*/ 623376 w 1798197"/>
                <a:gd name="connsiteY8" fmla="*/ 1847990 h 1750117"/>
                <a:gd name="connsiteX9" fmla="*/ 0 w 1798197"/>
                <a:gd name="connsiteY9" fmla="*/ 1317121 h 1750117"/>
                <a:gd name="connsiteX10" fmla="*/ 1062935 w 1798197"/>
                <a:gd name="connsiteY10" fmla="*/ 710414 h 1750117"/>
                <a:gd name="connsiteX11" fmla="*/ 1222775 w 1798197"/>
                <a:gd name="connsiteY11" fmla="*/ 547069 h 1750117"/>
                <a:gd name="connsiteX12" fmla="*/ 933065 w 1798197"/>
                <a:gd name="connsiteY12" fmla="*/ 366224 h 1750117"/>
                <a:gd name="connsiteX13" fmla="*/ 633365 w 1798197"/>
                <a:gd name="connsiteY13" fmla="*/ 584016 h 1750117"/>
                <a:gd name="connsiteX14" fmla="*/ 843155 w 1798197"/>
                <a:gd name="connsiteY14" fmla="*/ 1499911 h 1750117"/>
                <a:gd name="connsiteX15" fmla="*/ 1208789 w 1798197"/>
                <a:gd name="connsiteY15" fmla="*/ 984599 h 1750117"/>
                <a:gd name="connsiteX16" fmla="*/ 839160 w 1798197"/>
                <a:gd name="connsiteY16" fmla="*/ 1077938 h 1750117"/>
                <a:gd name="connsiteX17" fmla="*/ 593405 w 1798197"/>
                <a:gd name="connsiteY17" fmla="*/ 1301564 h 1750117"/>
                <a:gd name="connsiteX18" fmla="*/ 843155 w 1798197"/>
                <a:gd name="connsiteY18" fmla="*/ 1496022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98197" h="1750117">
                  <a:moveTo>
                    <a:pt x="67932" y="591795"/>
                  </a:moveTo>
                  <a:cubicBezTo>
                    <a:pt x="68543" y="396642"/>
                    <a:pt x="177947" y="217193"/>
                    <a:pt x="353646" y="123152"/>
                  </a:cubicBezTo>
                  <a:cubicBezTo>
                    <a:pt x="534107" y="36279"/>
                    <a:pt x="733842" y="-5806"/>
                    <a:pt x="935063" y="644"/>
                  </a:cubicBezTo>
                  <a:cubicBezTo>
                    <a:pt x="1366630" y="644"/>
                    <a:pt x="1786210" y="92039"/>
                    <a:pt x="1786210" y="584016"/>
                  </a:cubicBezTo>
                  <a:lnTo>
                    <a:pt x="1786210" y="1356012"/>
                  </a:lnTo>
                  <a:cubicBezTo>
                    <a:pt x="1775222" y="1506568"/>
                    <a:pt x="1799827" y="1657572"/>
                    <a:pt x="1858138" y="1797431"/>
                  </a:cubicBezTo>
                  <a:lnTo>
                    <a:pt x="1258739" y="1797431"/>
                  </a:lnTo>
                  <a:cubicBezTo>
                    <a:pt x="1239900" y="1743960"/>
                    <a:pt x="1227823" y="1688455"/>
                    <a:pt x="1222775" y="1632142"/>
                  </a:cubicBezTo>
                  <a:cubicBezTo>
                    <a:pt x="1060166" y="1778408"/>
                    <a:pt x="844642" y="1856020"/>
                    <a:pt x="623376" y="1847990"/>
                  </a:cubicBezTo>
                  <a:cubicBezTo>
                    <a:pt x="273726" y="1847990"/>
                    <a:pt x="0" y="1678812"/>
                    <a:pt x="0" y="1317121"/>
                  </a:cubicBezTo>
                  <a:cubicBezTo>
                    <a:pt x="0" y="747361"/>
                    <a:pt x="647351" y="790141"/>
                    <a:pt x="1062935" y="710414"/>
                  </a:cubicBezTo>
                  <a:cubicBezTo>
                    <a:pt x="1164833" y="689023"/>
                    <a:pt x="1222775" y="655966"/>
                    <a:pt x="1222775" y="547069"/>
                  </a:cubicBezTo>
                  <a:cubicBezTo>
                    <a:pt x="1222775" y="438173"/>
                    <a:pt x="1056941" y="366224"/>
                    <a:pt x="933065" y="366224"/>
                  </a:cubicBezTo>
                  <a:cubicBezTo>
                    <a:pt x="788695" y="346522"/>
                    <a:pt x="654972" y="443699"/>
                    <a:pt x="633365" y="584016"/>
                  </a:cubicBezTo>
                  <a:close/>
                  <a:moveTo>
                    <a:pt x="843155" y="1499911"/>
                  </a:moveTo>
                  <a:cubicBezTo>
                    <a:pt x="1126871" y="1499911"/>
                    <a:pt x="1222775" y="1346290"/>
                    <a:pt x="1208789" y="984599"/>
                  </a:cubicBezTo>
                  <a:cubicBezTo>
                    <a:pt x="1089639" y="1029330"/>
                    <a:pt x="965624" y="1060647"/>
                    <a:pt x="839160" y="1077938"/>
                  </a:cubicBezTo>
                  <a:cubicBezTo>
                    <a:pt x="705293" y="1109052"/>
                    <a:pt x="593405" y="1163500"/>
                    <a:pt x="593405" y="1301564"/>
                  </a:cubicBezTo>
                  <a:cubicBezTo>
                    <a:pt x="593405" y="1439629"/>
                    <a:pt x="709290" y="1496022"/>
                    <a:pt x="843155" y="1496022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0BADD8F6-BA07-4388-9C3D-C9DDD9E1362E}"/>
                </a:ext>
              </a:extLst>
            </p:cNvPr>
            <p:cNvSpPr/>
            <p:nvPr/>
          </p:nvSpPr>
          <p:spPr>
            <a:xfrm>
              <a:off x="18819012" y="1344657"/>
              <a:ext cx="599399" cy="2139032"/>
            </a:xfrm>
            <a:custGeom>
              <a:avLst/>
              <a:gdLst>
                <a:gd name="connsiteX0" fmla="*/ -1 w 599399"/>
                <a:gd name="connsiteY0" fmla="*/ 0 h 2139032"/>
                <a:gd name="connsiteX1" fmla="*/ 599398 w 599399"/>
                <a:gd name="connsiteY1" fmla="*/ 0 h 2139032"/>
                <a:gd name="connsiteX2" fmla="*/ 599398 w 599399"/>
                <a:gd name="connsiteY2" fmla="*/ 2142921 h 2139032"/>
                <a:gd name="connsiteX3" fmla="*/ -1 w 599399"/>
                <a:gd name="connsiteY3" fmla="*/ 2142921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9399" h="2139032">
                  <a:moveTo>
                    <a:pt x="-1" y="0"/>
                  </a:moveTo>
                  <a:lnTo>
                    <a:pt x="599398" y="0"/>
                  </a:lnTo>
                  <a:lnTo>
                    <a:pt x="599398" y="2142921"/>
                  </a:lnTo>
                  <a:lnTo>
                    <a:pt x="-1" y="2142921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A59AB7BB-4F3F-4DCC-A681-677DB9BC78DB}"/>
                </a:ext>
              </a:extLst>
            </p:cNvPr>
            <p:cNvSpPr/>
            <p:nvPr/>
          </p:nvSpPr>
          <p:spPr>
            <a:xfrm>
              <a:off x="19550279" y="1340768"/>
              <a:ext cx="1798197" cy="2139032"/>
            </a:xfrm>
            <a:custGeom>
              <a:avLst/>
              <a:gdLst>
                <a:gd name="connsiteX0" fmla="*/ 1898097 w 1798197"/>
                <a:gd name="connsiteY0" fmla="*/ 2139032 h 2139032"/>
                <a:gd name="connsiteX1" fmla="*/ 1320676 w 1798197"/>
                <a:gd name="connsiteY1" fmla="*/ 2139032 h 2139032"/>
                <a:gd name="connsiteX2" fmla="*/ 1320676 w 1798197"/>
                <a:gd name="connsiteY2" fmla="*/ 1944575 h 2139032"/>
                <a:gd name="connsiteX3" fmla="*/ 1320676 w 1798197"/>
                <a:gd name="connsiteY3" fmla="*/ 1944575 h 2139032"/>
                <a:gd name="connsiteX4" fmla="*/ 817182 w 1798197"/>
                <a:gd name="connsiteY4" fmla="*/ 2199314 h 2139032"/>
                <a:gd name="connsiteX5" fmla="*/ 0 w 1798197"/>
                <a:gd name="connsiteY5" fmla="*/ 1227027 h 2139032"/>
                <a:gd name="connsiteX6" fmla="*/ 771227 w 1798197"/>
                <a:gd name="connsiteY6" fmla="*/ 338356 h 2139032"/>
                <a:gd name="connsiteX7" fmla="*/ 1284712 w 1798197"/>
                <a:gd name="connsiteY7" fmla="*/ 583372 h 2139032"/>
                <a:gd name="connsiteX8" fmla="*/ 1284712 w 1798197"/>
                <a:gd name="connsiteY8" fmla="*/ 583372 h 2139032"/>
                <a:gd name="connsiteX9" fmla="*/ 1284712 w 1798197"/>
                <a:gd name="connsiteY9" fmla="*/ 0 h 2139032"/>
                <a:gd name="connsiteX10" fmla="*/ 1884111 w 1798197"/>
                <a:gd name="connsiteY10" fmla="*/ 0 h 2139032"/>
                <a:gd name="connsiteX11" fmla="*/ 597401 w 1798197"/>
                <a:gd name="connsiteY11" fmla="*/ 1244528 h 2139032"/>
                <a:gd name="connsiteX12" fmla="*/ 965033 w 1798197"/>
                <a:gd name="connsiteY12" fmla="*/ 1750117 h 2139032"/>
                <a:gd name="connsiteX13" fmla="*/ 1320676 w 1798197"/>
                <a:gd name="connsiteY13" fmla="*/ 1260084 h 2139032"/>
                <a:gd name="connsiteX14" fmla="*/ 959039 w 1798197"/>
                <a:gd name="connsiteY14" fmla="*/ 777830 h 2139032"/>
                <a:gd name="connsiteX15" fmla="*/ 591407 w 1798197"/>
                <a:gd name="connsiteY15" fmla="*/ 1248417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98197" h="2139032">
                  <a:moveTo>
                    <a:pt x="1898097" y="2139032"/>
                  </a:moveTo>
                  <a:lnTo>
                    <a:pt x="1320676" y="2139032"/>
                  </a:lnTo>
                  <a:lnTo>
                    <a:pt x="1320676" y="1944575"/>
                  </a:lnTo>
                  <a:lnTo>
                    <a:pt x="1320676" y="1944575"/>
                  </a:lnTo>
                  <a:cubicBezTo>
                    <a:pt x="1209173" y="2108272"/>
                    <a:pt x="1018907" y="2204536"/>
                    <a:pt x="817182" y="2199314"/>
                  </a:cubicBezTo>
                  <a:cubicBezTo>
                    <a:pt x="241757" y="2199314"/>
                    <a:pt x="0" y="1726782"/>
                    <a:pt x="0" y="1227027"/>
                  </a:cubicBezTo>
                  <a:cubicBezTo>
                    <a:pt x="0" y="771996"/>
                    <a:pt x="251748" y="338356"/>
                    <a:pt x="771227" y="338356"/>
                  </a:cubicBezTo>
                  <a:cubicBezTo>
                    <a:pt x="973505" y="332283"/>
                    <a:pt x="1165764" y="424022"/>
                    <a:pt x="1284712" y="583372"/>
                  </a:cubicBezTo>
                  <a:lnTo>
                    <a:pt x="1284712" y="583372"/>
                  </a:lnTo>
                  <a:lnTo>
                    <a:pt x="1284712" y="0"/>
                  </a:lnTo>
                  <a:lnTo>
                    <a:pt x="1884111" y="0"/>
                  </a:lnTo>
                  <a:close/>
                  <a:moveTo>
                    <a:pt x="597401" y="1244528"/>
                  </a:moveTo>
                  <a:cubicBezTo>
                    <a:pt x="597401" y="1483710"/>
                    <a:pt x="689308" y="1750117"/>
                    <a:pt x="965033" y="1750117"/>
                  </a:cubicBezTo>
                  <a:cubicBezTo>
                    <a:pt x="1240756" y="1750117"/>
                    <a:pt x="1320676" y="1483710"/>
                    <a:pt x="1320676" y="1260084"/>
                  </a:cubicBezTo>
                  <a:cubicBezTo>
                    <a:pt x="1320676" y="1036458"/>
                    <a:pt x="1218778" y="777830"/>
                    <a:pt x="959039" y="777830"/>
                  </a:cubicBezTo>
                  <a:cubicBezTo>
                    <a:pt x="699299" y="777830"/>
                    <a:pt x="591407" y="1024791"/>
                    <a:pt x="591407" y="1248417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63508A8B-2B16-48F0-A004-33FB9C14CA03}"/>
                </a:ext>
              </a:extLst>
            </p:cNvPr>
            <p:cNvSpPr/>
            <p:nvPr/>
          </p:nvSpPr>
          <p:spPr>
            <a:xfrm>
              <a:off x="21566257" y="1344657"/>
              <a:ext cx="399599" cy="388915"/>
            </a:xfrm>
            <a:custGeom>
              <a:avLst/>
              <a:gdLst>
                <a:gd name="connsiteX0" fmla="*/ 281718 w 399599"/>
                <a:gd name="connsiteY0" fmla="*/ 579483 h 388914"/>
                <a:gd name="connsiteX1" fmla="*/ 0 w 399599"/>
                <a:gd name="connsiteY1" fmla="*/ 579483 h 388914"/>
                <a:gd name="connsiteX2" fmla="*/ 0 w 399599"/>
                <a:gd name="connsiteY2" fmla="*/ 0 h 388914"/>
                <a:gd name="connsiteX3" fmla="*/ 561438 w 399599"/>
                <a:gd name="connsiteY3" fmla="*/ 0 h 388914"/>
                <a:gd name="connsiteX4" fmla="*/ 281718 w 399599"/>
                <a:gd name="connsiteY4" fmla="*/ 579483 h 38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599" h="388914">
                  <a:moveTo>
                    <a:pt x="281718" y="579483"/>
                  </a:moveTo>
                  <a:lnTo>
                    <a:pt x="0" y="579483"/>
                  </a:lnTo>
                  <a:lnTo>
                    <a:pt x="0" y="0"/>
                  </a:lnTo>
                  <a:lnTo>
                    <a:pt x="561438" y="0"/>
                  </a:lnTo>
                  <a:lnTo>
                    <a:pt x="281718" y="579483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9" name="Freeform 33">
              <a:extLst>
                <a:ext uri="{FF2B5EF4-FFF2-40B4-BE49-F238E27FC236}">
                  <a16:creationId xmlns:a16="http://schemas.microsoft.com/office/drawing/2014/main" id="{80BB56BB-34D7-44CA-B230-15C91837836B}"/>
                </a:ext>
              </a:extLst>
            </p:cNvPr>
            <p:cNvSpPr/>
            <p:nvPr/>
          </p:nvSpPr>
          <p:spPr>
            <a:xfrm>
              <a:off x="10659192" y="1340768"/>
              <a:ext cx="1997997" cy="2139032"/>
            </a:xfrm>
            <a:custGeom>
              <a:avLst/>
              <a:gdLst>
                <a:gd name="connsiteX0" fmla="*/ 951047 w 1997996"/>
                <a:gd name="connsiteY0" fmla="*/ 0 h 2139032"/>
                <a:gd name="connsiteX1" fmla="*/ 0 w 1997996"/>
                <a:gd name="connsiteY1" fmla="*/ 0 h 2139032"/>
                <a:gd name="connsiteX2" fmla="*/ 0 w 1997996"/>
                <a:gd name="connsiteY2" fmla="*/ 2139032 h 2139032"/>
                <a:gd name="connsiteX3" fmla="*/ 961036 w 1997996"/>
                <a:gd name="connsiteY3" fmla="*/ 2139032 h 2139032"/>
                <a:gd name="connsiteX4" fmla="*/ 2057937 w 1997996"/>
                <a:gd name="connsiteY4" fmla="*/ 1057849 h 2139032"/>
                <a:gd name="connsiteX5" fmla="*/ 951047 w 1997996"/>
                <a:gd name="connsiteY5" fmla="*/ 0 h 2139032"/>
                <a:gd name="connsiteX6" fmla="*/ 897101 w 1997996"/>
                <a:gd name="connsiteY6" fmla="*/ 1645110 h 2139032"/>
                <a:gd name="connsiteX7" fmla="*/ 629369 w 1997996"/>
                <a:gd name="connsiteY7" fmla="*/ 1645110 h 2139032"/>
                <a:gd name="connsiteX8" fmla="*/ 629369 w 1997996"/>
                <a:gd name="connsiteY8" fmla="*/ 499756 h 2139032"/>
                <a:gd name="connsiteX9" fmla="*/ 897101 w 1997996"/>
                <a:gd name="connsiteY9" fmla="*/ 499756 h 2139032"/>
                <a:gd name="connsiteX10" fmla="*/ 1400596 w 1997996"/>
                <a:gd name="connsiteY10" fmla="*/ 1063682 h 2139032"/>
                <a:gd name="connsiteX11" fmla="*/ 897101 w 1997996"/>
                <a:gd name="connsiteY11" fmla="*/ 1647055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7996" h="2139032">
                  <a:moveTo>
                    <a:pt x="951047" y="0"/>
                  </a:moveTo>
                  <a:lnTo>
                    <a:pt x="0" y="0"/>
                  </a:lnTo>
                  <a:lnTo>
                    <a:pt x="0" y="2139032"/>
                  </a:lnTo>
                  <a:lnTo>
                    <a:pt x="961036" y="2139032"/>
                  </a:lnTo>
                  <a:cubicBezTo>
                    <a:pt x="1640355" y="2139032"/>
                    <a:pt x="2057937" y="1759840"/>
                    <a:pt x="2057937" y="1057849"/>
                  </a:cubicBezTo>
                  <a:cubicBezTo>
                    <a:pt x="2047947" y="402527"/>
                    <a:pt x="1636359" y="0"/>
                    <a:pt x="951047" y="0"/>
                  </a:cubicBezTo>
                  <a:moveTo>
                    <a:pt x="897101" y="1645110"/>
                  </a:moveTo>
                  <a:lnTo>
                    <a:pt x="629369" y="1645110"/>
                  </a:lnTo>
                  <a:lnTo>
                    <a:pt x="629369" y="499756"/>
                  </a:lnTo>
                  <a:lnTo>
                    <a:pt x="897101" y="499756"/>
                  </a:lnTo>
                  <a:cubicBezTo>
                    <a:pt x="1244752" y="499756"/>
                    <a:pt x="1400596" y="723382"/>
                    <a:pt x="1400596" y="1063682"/>
                  </a:cubicBezTo>
                  <a:cubicBezTo>
                    <a:pt x="1400596" y="1438985"/>
                    <a:pt x="1274722" y="1647055"/>
                    <a:pt x="897101" y="1647055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0" name="Freeform 34">
              <a:extLst>
                <a:ext uri="{FF2B5EF4-FFF2-40B4-BE49-F238E27FC236}">
                  <a16:creationId xmlns:a16="http://schemas.microsoft.com/office/drawing/2014/main" id="{5E4A92C0-77A8-43E6-9150-F77B5E4ABFC5}"/>
                </a:ext>
              </a:extLst>
            </p:cNvPr>
            <p:cNvSpPr/>
            <p:nvPr/>
          </p:nvSpPr>
          <p:spPr>
            <a:xfrm>
              <a:off x="5664200" y="1340768"/>
              <a:ext cx="2996995" cy="2139032"/>
            </a:xfrm>
            <a:custGeom>
              <a:avLst/>
              <a:gdLst>
                <a:gd name="connsiteX0" fmla="*/ 1842153 w 2996995"/>
                <a:gd name="connsiteY0" fmla="*/ 2139032 h 2139032"/>
                <a:gd name="connsiteX1" fmla="*/ 2081913 w 2996995"/>
                <a:gd name="connsiteY1" fmla="*/ 1279530 h 2139032"/>
                <a:gd name="connsiteX2" fmla="*/ 2145849 w 2996995"/>
                <a:gd name="connsiteY2" fmla="*/ 1003400 h 2139032"/>
                <a:gd name="connsiteX3" fmla="*/ 2145849 w 2996995"/>
                <a:gd name="connsiteY3" fmla="*/ 1003400 h 2139032"/>
                <a:gd name="connsiteX4" fmla="*/ 2193801 w 2996995"/>
                <a:gd name="connsiteY4" fmla="*/ 1285364 h 2139032"/>
                <a:gd name="connsiteX5" fmla="*/ 2369624 w 2996995"/>
                <a:gd name="connsiteY5" fmla="*/ 2139032 h 2139032"/>
                <a:gd name="connsiteX6" fmla="*/ 3028963 w 2996995"/>
                <a:gd name="connsiteY6" fmla="*/ 2139032 h 2139032"/>
                <a:gd name="connsiteX7" fmla="*/ 2565428 w 2996995"/>
                <a:gd name="connsiteY7" fmla="*/ 0 h 2139032"/>
                <a:gd name="connsiteX8" fmla="*/ 1868127 w 2996995"/>
                <a:gd name="connsiteY8" fmla="*/ 0 h 2139032"/>
                <a:gd name="connsiteX9" fmla="*/ 1598398 w 2996995"/>
                <a:gd name="connsiteY9" fmla="*/ 1079239 h 2139032"/>
                <a:gd name="connsiteX10" fmla="*/ 1518478 w 2996995"/>
                <a:gd name="connsiteY10" fmla="*/ 1361202 h 2139032"/>
                <a:gd name="connsiteX11" fmla="*/ 1518478 w 2996995"/>
                <a:gd name="connsiteY11" fmla="*/ 1361202 h 2139032"/>
                <a:gd name="connsiteX12" fmla="*/ 1440556 w 2996995"/>
                <a:gd name="connsiteY12" fmla="*/ 1079239 h 2139032"/>
                <a:gd name="connsiteX13" fmla="*/ 1160836 w 2996995"/>
                <a:gd name="connsiteY13" fmla="*/ 0 h 2139032"/>
                <a:gd name="connsiteX14" fmla="*/ 461537 w 2996995"/>
                <a:gd name="connsiteY14" fmla="*/ 0 h 2139032"/>
                <a:gd name="connsiteX15" fmla="*/ 0 w 2996995"/>
                <a:gd name="connsiteY15" fmla="*/ 2139032 h 2139032"/>
                <a:gd name="connsiteX16" fmla="*/ 659339 w 2996995"/>
                <a:gd name="connsiteY16" fmla="*/ 2139032 h 2139032"/>
                <a:gd name="connsiteX17" fmla="*/ 829169 w 2996995"/>
                <a:gd name="connsiteY17" fmla="*/ 1285364 h 2139032"/>
                <a:gd name="connsiteX18" fmla="*/ 875123 w 2996995"/>
                <a:gd name="connsiteY18" fmla="*/ 1003400 h 2139032"/>
                <a:gd name="connsiteX19" fmla="*/ 875123 w 2996995"/>
                <a:gd name="connsiteY19" fmla="*/ 1003400 h 2139032"/>
                <a:gd name="connsiteX20" fmla="*/ 939059 w 2996995"/>
                <a:gd name="connsiteY20" fmla="*/ 1279530 h 2139032"/>
                <a:gd name="connsiteX21" fmla="*/ 1186810 w 2996995"/>
                <a:gd name="connsiteY21" fmla="*/ 2139032 h 213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96995" h="2139032">
                  <a:moveTo>
                    <a:pt x="1842153" y="2139032"/>
                  </a:moveTo>
                  <a:lnTo>
                    <a:pt x="2081913" y="1279530"/>
                  </a:lnTo>
                  <a:cubicBezTo>
                    <a:pt x="2107887" y="1178412"/>
                    <a:pt x="2135859" y="1061738"/>
                    <a:pt x="2145849" y="1003400"/>
                  </a:cubicBezTo>
                  <a:lnTo>
                    <a:pt x="2145849" y="1003400"/>
                  </a:lnTo>
                  <a:cubicBezTo>
                    <a:pt x="2145849" y="1048126"/>
                    <a:pt x="2169825" y="1176468"/>
                    <a:pt x="2193801" y="1285364"/>
                  </a:cubicBezTo>
                  <a:lnTo>
                    <a:pt x="2369624" y="2139032"/>
                  </a:lnTo>
                  <a:lnTo>
                    <a:pt x="3028963" y="2139032"/>
                  </a:lnTo>
                  <a:lnTo>
                    <a:pt x="2565428" y="0"/>
                  </a:lnTo>
                  <a:lnTo>
                    <a:pt x="1868127" y="0"/>
                  </a:lnTo>
                  <a:lnTo>
                    <a:pt x="1598398" y="1079239"/>
                  </a:lnTo>
                  <a:cubicBezTo>
                    <a:pt x="1564432" y="1166745"/>
                    <a:pt x="1534462" y="1297031"/>
                    <a:pt x="1518478" y="1361202"/>
                  </a:cubicBezTo>
                  <a:lnTo>
                    <a:pt x="1518478" y="1361202"/>
                  </a:lnTo>
                  <a:cubicBezTo>
                    <a:pt x="1492504" y="1297031"/>
                    <a:pt x="1464532" y="1166745"/>
                    <a:pt x="1440556" y="1079239"/>
                  </a:cubicBezTo>
                  <a:lnTo>
                    <a:pt x="1160836" y="0"/>
                  </a:lnTo>
                  <a:lnTo>
                    <a:pt x="461537" y="0"/>
                  </a:lnTo>
                  <a:lnTo>
                    <a:pt x="0" y="2139032"/>
                  </a:lnTo>
                  <a:lnTo>
                    <a:pt x="659339" y="2139032"/>
                  </a:lnTo>
                  <a:lnTo>
                    <a:pt x="829169" y="1285364"/>
                  </a:lnTo>
                  <a:cubicBezTo>
                    <a:pt x="851147" y="1176468"/>
                    <a:pt x="869129" y="1048126"/>
                    <a:pt x="875123" y="1003400"/>
                  </a:cubicBezTo>
                  <a:lnTo>
                    <a:pt x="875123" y="1003400"/>
                  </a:lnTo>
                  <a:cubicBezTo>
                    <a:pt x="875123" y="1061738"/>
                    <a:pt x="911087" y="1178412"/>
                    <a:pt x="939059" y="1279530"/>
                  </a:cubicBezTo>
                  <a:lnTo>
                    <a:pt x="1186810" y="2139032"/>
                  </a:ln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1" name="Freeform 35">
              <a:extLst>
                <a:ext uri="{FF2B5EF4-FFF2-40B4-BE49-F238E27FC236}">
                  <a16:creationId xmlns:a16="http://schemas.microsoft.com/office/drawing/2014/main" id="{2257AC52-79BB-4741-8749-4098E0F77AD7}"/>
                </a:ext>
              </a:extLst>
            </p:cNvPr>
            <p:cNvSpPr/>
            <p:nvPr/>
          </p:nvSpPr>
          <p:spPr>
            <a:xfrm>
              <a:off x="12830059" y="1683552"/>
              <a:ext cx="1798197" cy="1750117"/>
            </a:xfrm>
            <a:custGeom>
              <a:avLst/>
              <a:gdLst>
                <a:gd name="connsiteX0" fmla="*/ 963990 w 1798197"/>
                <a:gd name="connsiteY0" fmla="*/ 1406 h 1750117"/>
                <a:gd name="connsiteX1" fmla="*/ 1436 w 1798197"/>
                <a:gd name="connsiteY1" fmla="*/ 839168 h 1750117"/>
                <a:gd name="connsiteX2" fmla="*/ 956 w 1798197"/>
                <a:gd name="connsiteY2" fmla="*/ 928968 h 1750117"/>
                <a:gd name="connsiteX3" fmla="*/ 871723 w 1798197"/>
                <a:gd name="connsiteY3" fmla="*/ 1856998 h 1750117"/>
                <a:gd name="connsiteX4" fmla="*/ 963991 w 1798197"/>
                <a:gd name="connsiteY4" fmla="*/ 1856530 h 1750117"/>
                <a:gd name="connsiteX5" fmla="*/ 1924651 w 1798197"/>
                <a:gd name="connsiteY5" fmla="*/ 1016712 h 1750117"/>
                <a:gd name="connsiteX6" fmla="*/ 1925028 w 1798197"/>
                <a:gd name="connsiteY6" fmla="*/ 928968 h 1750117"/>
                <a:gd name="connsiteX7" fmla="*/ 1054145 w 1798197"/>
                <a:gd name="connsiteY7" fmla="*/ 1039 h 1750117"/>
                <a:gd name="connsiteX8" fmla="*/ 963991 w 1798197"/>
                <a:gd name="connsiteY8" fmla="*/ 1406 h 1750117"/>
                <a:gd name="connsiteX9" fmla="*/ 963990 w 1798197"/>
                <a:gd name="connsiteY9" fmla="*/ 1419001 h 1750117"/>
                <a:gd name="connsiteX10" fmla="*/ 600355 w 1798197"/>
                <a:gd name="connsiteY10" fmla="*/ 928968 h 1750117"/>
                <a:gd name="connsiteX11" fmla="*/ 963990 w 1798197"/>
                <a:gd name="connsiteY11" fmla="*/ 435046 h 1750117"/>
                <a:gd name="connsiteX12" fmla="*/ 1325628 w 1798197"/>
                <a:gd name="connsiteY12" fmla="*/ 928968 h 1750117"/>
                <a:gd name="connsiteX13" fmla="*/ 963990 w 1798197"/>
                <a:gd name="connsiteY13" fmla="*/ 1419001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98197" h="1750117">
                  <a:moveTo>
                    <a:pt x="963990" y="1406"/>
                  </a:moveTo>
                  <a:cubicBezTo>
                    <a:pt x="460491" y="-25947"/>
                    <a:pt x="29541" y="349132"/>
                    <a:pt x="1436" y="839168"/>
                  </a:cubicBezTo>
                  <a:cubicBezTo>
                    <a:pt x="-278" y="869074"/>
                    <a:pt x="-439" y="899046"/>
                    <a:pt x="956" y="928968"/>
                  </a:cubicBezTo>
                  <a:cubicBezTo>
                    <a:pt x="-21898" y="1419263"/>
                    <a:pt x="367958" y="1834756"/>
                    <a:pt x="871723" y="1856998"/>
                  </a:cubicBezTo>
                  <a:cubicBezTo>
                    <a:pt x="902467" y="1858356"/>
                    <a:pt x="933262" y="1858199"/>
                    <a:pt x="963991" y="1856530"/>
                  </a:cubicBezTo>
                  <a:cubicBezTo>
                    <a:pt x="1467550" y="1882807"/>
                    <a:pt x="1897653" y="1506807"/>
                    <a:pt x="1924651" y="1016712"/>
                  </a:cubicBezTo>
                  <a:cubicBezTo>
                    <a:pt x="1926261" y="987488"/>
                    <a:pt x="1926387" y="958204"/>
                    <a:pt x="1925028" y="928968"/>
                  </a:cubicBezTo>
                  <a:cubicBezTo>
                    <a:pt x="1947820" y="438670"/>
                    <a:pt x="1557913" y="23223"/>
                    <a:pt x="1054145" y="1039"/>
                  </a:cubicBezTo>
                  <a:cubicBezTo>
                    <a:pt x="1024106" y="-283"/>
                    <a:pt x="994018" y="-161"/>
                    <a:pt x="963991" y="1406"/>
                  </a:cubicBezTo>
                  <a:moveTo>
                    <a:pt x="963990" y="1419001"/>
                  </a:moveTo>
                  <a:cubicBezTo>
                    <a:pt x="704251" y="1419001"/>
                    <a:pt x="600355" y="1208987"/>
                    <a:pt x="600355" y="928968"/>
                  </a:cubicBezTo>
                  <a:cubicBezTo>
                    <a:pt x="600355" y="648949"/>
                    <a:pt x="704251" y="435046"/>
                    <a:pt x="963990" y="435046"/>
                  </a:cubicBezTo>
                  <a:cubicBezTo>
                    <a:pt x="1223730" y="435046"/>
                    <a:pt x="1325628" y="648949"/>
                    <a:pt x="1325628" y="928968"/>
                  </a:cubicBezTo>
                  <a:cubicBezTo>
                    <a:pt x="1325628" y="1208987"/>
                    <a:pt x="1225728" y="1419001"/>
                    <a:pt x="963990" y="1419001"/>
                  </a:cubicBezTo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2" name="Freeform 36">
              <a:extLst>
                <a:ext uri="{FF2B5EF4-FFF2-40B4-BE49-F238E27FC236}">
                  <a16:creationId xmlns:a16="http://schemas.microsoft.com/office/drawing/2014/main" id="{77D0AA06-CC35-4950-900C-F183EC042D6E}"/>
                </a:ext>
              </a:extLst>
            </p:cNvPr>
            <p:cNvSpPr/>
            <p:nvPr/>
          </p:nvSpPr>
          <p:spPr>
            <a:xfrm>
              <a:off x="21989833" y="1683013"/>
              <a:ext cx="1598398" cy="1750117"/>
            </a:xfrm>
            <a:custGeom>
              <a:avLst/>
              <a:gdLst>
                <a:gd name="connsiteX0" fmla="*/ 565434 w 1598397"/>
                <a:gd name="connsiteY0" fmla="*/ 1227027 h 1750117"/>
                <a:gd name="connsiteX1" fmla="*/ 663335 w 1598397"/>
                <a:gd name="connsiteY1" fmla="*/ 1421484 h 1750117"/>
                <a:gd name="connsiteX2" fmla="*/ 863135 w 1598397"/>
                <a:gd name="connsiteY2" fmla="*/ 1483710 h 1750117"/>
                <a:gd name="connsiteX3" fmla="*/ 1142855 w 1598397"/>
                <a:gd name="connsiteY3" fmla="*/ 1289253 h 1750117"/>
                <a:gd name="connsiteX4" fmla="*/ 857141 w 1598397"/>
                <a:gd name="connsiteY4" fmla="*/ 1112297 h 1750117"/>
                <a:gd name="connsiteX5" fmla="*/ 9991 w 1598397"/>
                <a:gd name="connsiteY5" fmla="*/ 538647 h 1750117"/>
                <a:gd name="connsiteX6" fmla="*/ 849149 w 1598397"/>
                <a:gd name="connsiteY6" fmla="*/ 0 h 1750117"/>
                <a:gd name="connsiteX7" fmla="*/ 1680316 w 1598397"/>
                <a:gd name="connsiteY7" fmla="*/ 567816 h 1750117"/>
                <a:gd name="connsiteX8" fmla="*/ 1126870 w 1598397"/>
                <a:gd name="connsiteY8" fmla="*/ 567816 h 1750117"/>
                <a:gd name="connsiteX9" fmla="*/ 1056941 w 1598397"/>
                <a:gd name="connsiteY9" fmla="*/ 416139 h 1750117"/>
                <a:gd name="connsiteX10" fmla="*/ 877121 w 1598397"/>
                <a:gd name="connsiteY10" fmla="*/ 371414 h 1750117"/>
                <a:gd name="connsiteX11" fmla="*/ 623376 w 1598397"/>
                <a:gd name="connsiteY11" fmla="*/ 503645 h 1750117"/>
                <a:gd name="connsiteX12" fmla="*/ 1306690 w 1598397"/>
                <a:gd name="connsiteY12" fmla="*/ 756440 h 1750117"/>
                <a:gd name="connsiteX13" fmla="*/ 1764232 w 1598397"/>
                <a:gd name="connsiteY13" fmla="*/ 1230916 h 1750117"/>
                <a:gd name="connsiteX14" fmla="*/ 883114 w 1598397"/>
                <a:gd name="connsiteY14" fmla="*/ 1855124 h 1750117"/>
                <a:gd name="connsiteX15" fmla="*/ 0 w 1598397"/>
                <a:gd name="connsiteY15" fmla="*/ 1227027 h 175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98397" h="1750117">
                  <a:moveTo>
                    <a:pt x="565434" y="1227027"/>
                  </a:moveTo>
                  <a:cubicBezTo>
                    <a:pt x="562613" y="1303699"/>
                    <a:pt x="599352" y="1376670"/>
                    <a:pt x="663335" y="1421484"/>
                  </a:cubicBezTo>
                  <a:cubicBezTo>
                    <a:pt x="721521" y="1462225"/>
                    <a:pt x="791457" y="1484006"/>
                    <a:pt x="863135" y="1483710"/>
                  </a:cubicBezTo>
                  <a:cubicBezTo>
                    <a:pt x="979019" y="1483711"/>
                    <a:pt x="1142855" y="1435096"/>
                    <a:pt x="1142855" y="1289253"/>
                  </a:cubicBezTo>
                  <a:cubicBezTo>
                    <a:pt x="1142855" y="1143410"/>
                    <a:pt x="967031" y="1135632"/>
                    <a:pt x="857141" y="1112297"/>
                  </a:cubicBezTo>
                  <a:cubicBezTo>
                    <a:pt x="491507" y="1018957"/>
                    <a:pt x="9991" y="1018957"/>
                    <a:pt x="9991" y="538647"/>
                  </a:cubicBezTo>
                  <a:cubicBezTo>
                    <a:pt x="9991" y="114730"/>
                    <a:pt x="495504" y="0"/>
                    <a:pt x="849149" y="0"/>
                  </a:cubicBezTo>
                  <a:cubicBezTo>
                    <a:pt x="1248748" y="0"/>
                    <a:pt x="1660335" y="112785"/>
                    <a:pt x="1680316" y="567816"/>
                  </a:cubicBezTo>
                  <a:lnTo>
                    <a:pt x="1126870" y="567816"/>
                  </a:lnTo>
                  <a:cubicBezTo>
                    <a:pt x="1132861" y="508762"/>
                    <a:pt x="1106249" y="451042"/>
                    <a:pt x="1056941" y="416139"/>
                  </a:cubicBezTo>
                  <a:cubicBezTo>
                    <a:pt x="1002817" y="384359"/>
                    <a:pt x="940274" y="368803"/>
                    <a:pt x="877121" y="371414"/>
                  </a:cubicBezTo>
                  <a:cubicBezTo>
                    <a:pt x="779219" y="371414"/>
                    <a:pt x="623376" y="383081"/>
                    <a:pt x="623376" y="503645"/>
                  </a:cubicBezTo>
                  <a:cubicBezTo>
                    <a:pt x="623376" y="668934"/>
                    <a:pt x="1034962" y="698102"/>
                    <a:pt x="1306690" y="756440"/>
                  </a:cubicBezTo>
                  <a:cubicBezTo>
                    <a:pt x="1559004" y="782271"/>
                    <a:pt x="1753730" y="984205"/>
                    <a:pt x="1764232" y="1230916"/>
                  </a:cubicBezTo>
                  <a:cubicBezTo>
                    <a:pt x="1764232" y="1699558"/>
                    <a:pt x="1290706" y="1855124"/>
                    <a:pt x="883114" y="1855124"/>
                  </a:cubicBezTo>
                  <a:cubicBezTo>
                    <a:pt x="475523" y="1855124"/>
                    <a:pt x="17983" y="1717059"/>
                    <a:pt x="0" y="1227027"/>
                  </a:cubicBezTo>
                  <a:close/>
                </a:path>
              </a:pathLst>
            </a:custGeom>
            <a:solidFill>
              <a:srgbClr val="000000"/>
            </a:solidFill>
            <a:ln w="1997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pic>
        <p:nvPicPr>
          <p:cNvPr id="63" name="Picture 62" descr="A picture containing shirt&#10;&#10;Description automatically generated">
            <a:extLst>
              <a:ext uri="{FF2B5EF4-FFF2-40B4-BE49-F238E27FC236}">
                <a16:creationId xmlns:a16="http://schemas.microsoft.com/office/drawing/2014/main" id="{4F86E8A2-36BA-4DE8-9CA0-661967479C0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6240" y="61120"/>
            <a:ext cx="1951701" cy="791127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45044C9B-F551-47F3-8580-EEF3AC4E1B7B}"/>
              </a:ext>
            </a:extLst>
          </p:cNvPr>
          <p:cNvSpPr txBox="1"/>
          <p:nvPr userDrawn="1"/>
        </p:nvSpPr>
        <p:spPr>
          <a:xfrm>
            <a:off x="9949659" y="314357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FOR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500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06056" y="4437112"/>
            <a:ext cx="3872534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695400" y="3368724"/>
            <a:ext cx="3888432" cy="1068388"/>
          </a:xfrm>
          <a:prstGeom prst="rect">
            <a:avLst/>
          </a:prstGeom>
        </p:spPr>
        <p:txBody>
          <a:bodyPr lIns="0" anchor="ctr"/>
          <a:lstStyle>
            <a:lvl1pPr>
              <a:defRPr sz="2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6454D97-B660-4835-8E64-73561F52D2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78"/>
          <a:stretch/>
        </p:blipFill>
        <p:spPr>
          <a:xfrm>
            <a:off x="1371600" y="-12793"/>
            <a:ext cx="11175386" cy="6870793"/>
          </a:xfrm>
          <a:prstGeom prst="rect">
            <a:avLst/>
          </a:prstGeom>
        </p:spPr>
      </p:pic>
      <p:sp>
        <p:nvSpPr>
          <p:cNvPr id="21" name="Freeform 5">
            <a:extLst>
              <a:ext uri="{FF2B5EF4-FFF2-40B4-BE49-F238E27FC236}">
                <a16:creationId xmlns:a16="http://schemas.microsoft.com/office/drawing/2014/main" id="{3D20677F-E5A7-4EA4-8705-232D03D76234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3505200" cy="6880318"/>
          </a:xfrm>
          <a:custGeom>
            <a:avLst/>
            <a:gdLst>
              <a:gd name="T0" fmla="*/ 578 w 964"/>
              <a:gd name="T1" fmla="*/ 1906 h 1906"/>
              <a:gd name="T2" fmla="*/ 578 w 964"/>
              <a:gd name="T3" fmla="*/ 1489 h 1906"/>
              <a:gd name="T4" fmla="*/ 838 w 964"/>
              <a:gd name="T5" fmla="*/ 760 h 1906"/>
              <a:gd name="T6" fmla="*/ 714 w 964"/>
              <a:gd name="T7" fmla="*/ 0 h 1906"/>
              <a:gd name="T8" fmla="*/ 0 w 964"/>
              <a:gd name="T9" fmla="*/ 0 h 1906"/>
              <a:gd name="T10" fmla="*/ 0 w 964"/>
              <a:gd name="T11" fmla="*/ 1906 h 1906"/>
              <a:gd name="T12" fmla="*/ 578 w 964"/>
              <a:gd name="T13" fmla="*/ 1906 h 19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64" h="1906">
                <a:moveTo>
                  <a:pt x="578" y="1906"/>
                </a:moveTo>
                <a:cubicBezTo>
                  <a:pt x="578" y="1906"/>
                  <a:pt x="964" y="1639"/>
                  <a:pt x="578" y="1489"/>
                </a:cubicBezTo>
                <a:cubicBezTo>
                  <a:pt x="192" y="1339"/>
                  <a:pt x="408" y="991"/>
                  <a:pt x="838" y="760"/>
                </a:cubicBezTo>
                <a:cubicBezTo>
                  <a:pt x="947" y="305"/>
                  <a:pt x="714" y="0"/>
                  <a:pt x="71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906"/>
                  <a:pt x="0" y="1906"/>
                  <a:pt x="0" y="1906"/>
                </a:cubicBezTo>
                <a:lnTo>
                  <a:pt x="578" y="190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43">
            <a:extLst>
              <a:ext uri="{FF2B5EF4-FFF2-40B4-BE49-F238E27FC236}">
                <a16:creationId xmlns:a16="http://schemas.microsoft.com/office/drawing/2014/main" id="{10881A37-2E55-44C1-8255-EA7CB997747F}"/>
              </a:ext>
            </a:extLst>
          </p:cNvPr>
          <p:cNvSpPr>
            <a:spLocks noChangeAspect="1"/>
          </p:cNvSpPr>
          <p:nvPr userDrawn="1"/>
        </p:nvSpPr>
        <p:spPr>
          <a:xfrm>
            <a:off x="11520001" y="350702"/>
            <a:ext cx="285158" cy="251999"/>
          </a:xfrm>
          <a:custGeom>
            <a:avLst/>
            <a:gdLst>
              <a:gd name="connsiteX0" fmla="*/ 242180 w 333452"/>
              <a:gd name="connsiteY0" fmla="*/ 21015 h 294678"/>
              <a:gd name="connsiteX1" fmla="*/ 294756 w 333452"/>
              <a:gd name="connsiteY1" fmla="*/ 294679 h 294678"/>
              <a:gd name="connsiteX2" fmla="*/ 336865 w 333452"/>
              <a:gd name="connsiteY2" fmla="*/ 294679 h 294678"/>
              <a:gd name="connsiteX3" fmla="*/ 242102 w 333452"/>
              <a:gd name="connsiteY3" fmla="*/ 0 h 294678"/>
              <a:gd name="connsiteX4" fmla="*/ 168432 w 333452"/>
              <a:gd name="connsiteY4" fmla="*/ 101664 h 294678"/>
              <a:gd name="connsiteX5" fmla="*/ 94763 w 333452"/>
              <a:gd name="connsiteY5" fmla="*/ 0 h 294678"/>
              <a:gd name="connsiteX6" fmla="*/ 0 w 333452"/>
              <a:gd name="connsiteY6" fmla="*/ 294679 h 294678"/>
              <a:gd name="connsiteX7" fmla="*/ 42108 w 333452"/>
              <a:gd name="connsiteY7" fmla="*/ 294679 h 294678"/>
              <a:gd name="connsiteX8" fmla="*/ 94763 w 333452"/>
              <a:gd name="connsiteY8" fmla="*/ 21015 h 294678"/>
              <a:gd name="connsiteX9" fmla="*/ 147417 w 333452"/>
              <a:gd name="connsiteY9" fmla="*/ 273664 h 294678"/>
              <a:gd name="connsiteX10" fmla="*/ 189525 w 333452"/>
              <a:gd name="connsiteY10" fmla="*/ 273664 h 294678"/>
              <a:gd name="connsiteX11" fmla="*/ 242180 w 333452"/>
              <a:gd name="connsiteY11" fmla="*/ 21015 h 294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33452" h="294678">
                <a:moveTo>
                  <a:pt x="242180" y="21015"/>
                </a:moveTo>
                <a:cubicBezTo>
                  <a:pt x="271492" y="21015"/>
                  <a:pt x="294756" y="143850"/>
                  <a:pt x="294756" y="294679"/>
                </a:cubicBezTo>
                <a:lnTo>
                  <a:pt x="336865" y="294679"/>
                </a:lnTo>
                <a:cubicBezTo>
                  <a:pt x="336865" y="131830"/>
                  <a:pt x="294446" y="0"/>
                  <a:pt x="242102" y="0"/>
                </a:cubicBezTo>
                <a:cubicBezTo>
                  <a:pt x="212324" y="0"/>
                  <a:pt x="185803" y="39627"/>
                  <a:pt x="168432" y="101664"/>
                </a:cubicBezTo>
                <a:cubicBezTo>
                  <a:pt x="151062" y="39627"/>
                  <a:pt x="124463" y="0"/>
                  <a:pt x="94763" y="0"/>
                </a:cubicBezTo>
                <a:cubicBezTo>
                  <a:pt x="42418" y="0"/>
                  <a:pt x="0" y="131830"/>
                  <a:pt x="0" y="294679"/>
                </a:cubicBezTo>
                <a:lnTo>
                  <a:pt x="42108" y="294679"/>
                </a:lnTo>
                <a:cubicBezTo>
                  <a:pt x="42108" y="143540"/>
                  <a:pt x="65372" y="21015"/>
                  <a:pt x="94763" y="21015"/>
                </a:cubicBezTo>
                <a:cubicBezTo>
                  <a:pt x="124153" y="21015"/>
                  <a:pt x="147417" y="134156"/>
                  <a:pt x="147417" y="273664"/>
                </a:cubicBezTo>
                <a:lnTo>
                  <a:pt x="189525" y="273664"/>
                </a:lnTo>
                <a:cubicBezTo>
                  <a:pt x="189525" y="134079"/>
                  <a:pt x="212789" y="21015"/>
                  <a:pt x="242180" y="21015"/>
                </a:cubicBezTo>
              </a:path>
            </a:pathLst>
          </a:custGeom>
          <a:solidFill>
            <a:schemeClr val="bg1"/>
          </a:solidFill>
          <a:ln w="7620" cap="flat">
            <a:noFill/>
            <a:prstDash val="solid"/>
            <a:miter/>
          </a:ln>
        </p:spPr>
        <p:txBody>
          <a:bodyPr rtlCol="0" anchor="ctr"/>
          <a:lstStyle/>
          <a:p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55E8B8C-88E6-457F-8314-29F9F13147B9}"/>
              </a:ext>
            </a:extLst>
          </p:cNvPr>
          <p:cNvSpPr txBox="1"/>
          <p:nvPr userDrawn="1"/>
        </p:nvSpPr>
        <p:spPr>
          <a:xfrm>
            <a:off x="11145050" y="368979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FOR</a:t>
            </a:r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3C35F1B7-9D50-441C-B200-DE2C152507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25" t="28144" r="12201" b="39801"/>
          <a:stretch/>
        </p:blipFill>
        <p:spPr>
          <a:xfrm>
            <a:off x="10861106" y="332656"/>
            <a:ext cx="314280" cy="288090"/>
          </a:xfrm>
          <a:prstGeom prst="rect">
            <a:avLst/>
          </a:prstGeom>
        </p:spPr>
      </p:pic>
      <p:sp>
        <p:nvSpPr>
          <p:cNvPr id="40" name="Subtitle 2">
            <a:extLst>
              <a:ext uri="{FF2B5EF4-FFF2-40B4-BE49-F238E27FC236}">
                <a16:creationId xmlns:a16="http://schemas.microsoft.com/office/drawing/2014/main" id="{EBB79E39-D5C9-490C-82AD-043E5996C972}"/>
              </a:ext>
            </a:extLst>
          </p:cNvPr>
          <p:cNvSpPr txBox="1">
            <a:spLocks/>
          </p:cNvSpPr>
          <p:nvPr userDrawn="1"/>
        </p:nvSpPr>
        <p:spPr>
          <a:xfrm>
            <a:off x="8675375" y="4838088"/>
            <a:ext cx="3189744" cy="112604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insert presenter, location, and date</a:t>
            </a:r>
          </a:p>
        </p:txBody>
      </p:sp>
      <p:sp>
        <p:nvSpPr>
          <p:cNvPr id="41" name="Titre 1">
            <a:extLst>
              <a:ext uri="{FF2B5EF4-FFF2-40B4-BE49-F238E27FC236}">
                <a16:creationId xmlns:a16="http://schemas.microsoft.com/office/drawing/2014/main" id="{C1F9080E-9FAB-4345-BBC9-AF28C4E4CEF0}"/>
              </a:ext>
            </a:extLst>
          </p:cNvPr>
          <p:cNvSpPr txBox="1">
            <a:spLocks/>
          </p:cNvSpPr>
          <p:nvPr userDrawn="1"/>
        </p:nvSpPr>
        <p:spPr>
          <a:xfrm>
            <a:off x="8664719" y="3769700"/>
            <a:ext cx="3202839" cy="1068388"/>
          </a:xfrm>
          <a:prstGeom prst="rect">
            <a:avLst/>
          </a:prstGeom>
        </p:spPr>
        <p:txBody>
          <a:bodyPr lIns="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inser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226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474F81C1-0EB3-254C-8BF3-EE7F55C34B2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22" y="1403"/>
            <a:ext cx="12185954" cy="6855191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2040" y="1545060"/>
            <a:ext cx="4302816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51384" y="476672"/>
            <a:ext cx="4320480" cy="1068388"/>
          </a:xfrm>
          <a:prstGeom prst="rect">
            <a:avLst/>
          </a:prstGeom>
        </p:spPr>
        <p:txBody>
          <a:bodyPr lIns="0" anchor="ctr"/>
          <a:lstStyle>
            <a:lvl1pPr>
              <a:defRPr sz="2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6" name="Freeform 43">
            <a:extLst>
              <a:ext uri="{FF2B5EF4-FFF2-40B4-BE49-F238E27FC236}">
                <a16:creationId xmlns:a16="http://schemas.microsoft.com/office/drawing/2014/main" id="{086B686E-6F94-4F9E-B768-670D61620078}"/>
              </a:ext>
            </a:extLst>
          </p:cNvPr>
          <p:cNvSpPr>
            <a:spLocks noChangeAspect="1"/>
          </p:cNvSpPr>
          <p:nvPr userDrawn="1"/>
        </p:nvSpPr>
        <p:spPr>
          <a:xfrm>
            <a:off x="11520001" y="350702"/>
            <a:ext cx="285158" cy="251999"/>
          </a:xfrm>
          <a:custGeom>
            <a:avLst/>
            <a:gdLst>
              <a:gd name="connsiteX0" fmla="*/ 242180 w 333452"/>
              <a:gd name="connsiteY0" fmla="*/ 21015 h 294678"/>
              <a:gd name="connsiteX1" fmla="*/ 294756 w 333452"/>
              <a:gd name="connsiteY1" fmla="*/ 294679 h 294678"/>
              <a:gd name="connsiteX2" fmla="*/ 336865 w 333452"/>
              <a:gd name="connsiteY2" fmla="*/ 294679 h 294678"/>
              <a:gd name="connsiteX3" fmla="*/ 242102 w 333452"/>
              <a:gd name="connsiteY3" fmla="*/ 0 h 294678"/>
              <a:gd name="connsiteX4" fmla="*/ 168432 w 333452"/>
              <a:gd name="connsiteY4" fmla="*/ 101664 h 294678"/>
              <a:gd name="connsiteX5" fmla="*/ 94763 w 333452"/>
              <a:gd name="connsiteY5" fmla="*/ 0 h 294678"/>
              <a:gd name="connsiteX6" fmla="*/ 0 w 333452"/>
              <a:gd name="connsiteY6" fmla="*/ 294679 h 294678"/>
              <a:gd name="connsiteX7" fmla="*/ 42108 w 333452"/>
              <a:gd name="connsiteY7" fmla="*/ 294679 h 294678"/>
              <a:gd name="connsiteX8" fmla="*/ 94763 w 333452"/>
              <a:gd name="connsiteY8" fmla="*/ 21015 h 294678"/>
              <a:gd name="connsiteX9" fmla="*/ 147417 w 333452"/>
              <a:gd name="connsiteY9" fmla="*/ 273664 h 294678"/>
              <a:gd name="connsiteX10" fmla="*/ 189525 w 333452"/>
              <a:gd name="connsiteY10" fmla="*/ 273664 h 294678"/>
              <a:gd name="connsiteX11" fmla="*/ 242180 w 333452"/>
              <a:gd name="connsiteY11" fmla="*/ 21015 h 294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33452" h="294678">
                <a:moveTo>
                  <a:pt x="242180" y="21015"/>
                </a:moveTo>
                <a:cubicBezTo>
                  <a:pt x="271492" y="21015"/>
                  <a:pt x="294756" y="143850"/>
                  <a:pt x="294756" y="294679"/>
                </a:cubicBezTo>
                <a:lnTo>
                  <a:pt x="336865" y="294679"/>
                </a:lnTo>
                <a:cubicBezTo>
                  <a:pt x="336865" y="131830"/>
                  <a:pt x="294446" y="0"/>
                  <a:pt x="242102" y="0"/>
                </a:cubicBezTo>
                <a:cubicBezTo>
                  <a:pt x="212324" y="0"/>
                  <a:pt x="185803" y="39627"/>
                  <a:pt x="168432" y="101664"/>
                </a:cubicBezTo>
                <a:cubicBezTo>
                  <a:pt x="151062" y="39627"/>
                  <a:pt x="124463" y="0"/>
                  <a:pt x="94763" y="0"/>
                </a:cubicBezTo>
                <a:cubicBezTo>
                  <a:pt x="42418" y="0"/>
                  <a:pt x="0" y="131830"/>
                  <a:pt x="0" y="294679"/>
                </a:cubicBezTo>
                <a:lnTo>
                  <a:pt x="42108" y="294679"/>
                </a:lnTo>
                <a:cubicBezTo>
                  <a:pt x="42108" y="143540"/>
                  <a:pt x="65372" y="21015"/>
                  <a:pt x="94763" y="21015"/>
                </a:cubicBezTo>
                <a:cubicBezTo>
                  <a:pt x="124153" y="21015"/>
                  <a:pt x="147417" y="134156"/>
                  <a:pt x="147417" y="273664"/>
                </a:cubicBezTo>
                <a:lnTo>
                  <a:pt x="189525" y="273664"/>
                </a:lnTo>
                <a:cubicBezTo>
                  <a:pt x="189525" y="134079"/>
                  <a:pt x="212789" y="21015"/>
                  <a:pt x="242180" y="21015"/>
                </a:cubicBezTo>
              </a:path>
            </a:pathLst>
          </a:custGeom>
          <a:solidFill>
            <a:schemeClr val="tx1"/>
          </a:solidFill>
          <a:ln w="7620" cap="flat">
            <a:noFill/>
            <a:prstDash val="solid"/>
            <a:miter/>
          </a:ln>
        </p:spPr>
        <p:txBody>
          <a:bodyPr rtlCol="0" anchor="ctr"/>
          <a:lstStyle/>
          <a:p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41123E-DDE2-4AF3-BDB5-52DF581BADDB}"/>
              </a:ext>
            </a:extLst>
          </p:cNvPr>
          <p:cNvSpPr txBox="1"/>
          <p:nvPr userDrawn="1"/>
        </p:nvSpPr>
        <p:spPr>
          <a:xfrm>
            <a:off x="11145050" y="368979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FOR</a:t>
            </a:r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18" name="Picture 17" descr="A close up of a logo&#10;&#10;Description automatically generated">
            <a:extLst>
              <a:ext uri="{FF2B5EF4-FFF2-40B4-BE49-F238E27FC236}">
                <a16:creationId xmlns:a16="http://schemas.microsoft.com/office/drawing/2014/main" id="{098B6C48-529B-46C4-A73C-1739488A35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3625" t="28144" r="12201" b="39801"/>
          <a:stretch/>
        </p:blipFill>
        <p:spPr>
          <a:xfrm>
            <a:off x="10861106" y="332656"/>
            <a:ext cx="314280" cy="288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657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474F81C1-0EB3-254C-8BF3-EE7F55C34B2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48" y="1402"/>
            <a:ext cx="12210756" cy="6867144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5360" y="2865977"/>
            <a:ext cx="3227112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24704" y="1797589"/>
            <a:ext cx="3240360" cy="1068388"/>
          </a:xfrm>
          <a:prstGeom prst="rect">
            <a:avLst/>
          </a:prstGeom>
        </p:spPr>
        <p:txBody>
          <a:bodyPr lIns="0" anchor="ctr"/>
          <a:lstStyle>
            <a:lvl1pPr>
              <a:defRPr sz="28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3" name="Freeform 43">
            <a:extLst>
              <a:ext uri="{FF2B5EF4-FFF2-40B4-BE49-F238E27FC236}">
                <a16:creationId xmlns:a16="http://schemas.microsoft.com/office/drawing/2014/main" id="{2DB2048E-9111-4EEC-AB7F-27BD2061089C}"/>
              </a:ext>
            </a:extLst>
          </p:cNvPr>
          <p:cNvSpPr>
            <a:spLocks noChangeAspect="1"/>
          </p:cNvSpPr>
          <p:nvPr userDrawn="1"/>
        </p:nvSpPr>
        <p:spPr>
          <a:xfrm>
            <a:off x="994255" y="350702"/>
            <a:ext cx="285158" cy="251999"/>
          </a:xfrm>
          <a:custGeom>
            <a:avLst/>
            <a:gdLst>
              <a:gd name="connsiteX0" fmla="*/ 242180 w 333452"/>
              <a:gd name="connsiteY0" fmla="*/ 21015 h 294678"/>
              <a:gd name="connsiteX1" fmla="*/ 294756 w 333452"/>
              <a:gd name="connsiteY1" fmla="*/ 294679 h 294678"/>
              <a:gd name="connsiteX2" fmla="*/ 336865 w 333452"/>
              <a:gd name="connsiteY2" fmla="*/ 294679 h 294678"/>
              <a:gd name="connsiteX3" fmla="*/ 242102 w 333452"/>
              <a:gd name="connsiteY3" fmla="*/ 0 h 294678"/>
              <a:gd name="connsiteX4" fmla="*/ 168432 w 333452"/>
              <a:gd name="connsiteY4" fmla="*/ 101664 h 294678"/>
              <a:gd name="connsiteX5" fmla="*/ 94763 w 333452"/>
              <a:gd name="connsiteY5" fmla="*/ 0 h 294678"/>
              <a:gd name="connsiteX6" fmla="*/ 0 w 333452"/>
              <a:gd name="connsiteY6" fmla="*/ 294679 h 294678"/>
              <a:gd name="connsiteX7" fmla="*/ 42108 w 333452"/>
              <a:gd name="connsiteY7" fmla="*/ 294679 h 294678"/>
              <a:gd name="connsiteX8" fmla="*/ 94763 w 333452"/>
              <a:gd name="connsiteY8" fmla="*/ 21015 h 294678"/>
              <a:gd name="connsiteX9" fmla="*/ 147417 w 333452"/>
              <a:gd name="connsiteY9" fmla="*/ 273664 h 294678"/>
              <a:gd name="connsiteX10" fmla="*/ 189525 w 333452"/>
              <a:gd name="connsiteY10" fmla="*/ 273664 h 294678"/>
              <a:gd name="connsiteX11" fmla="*/ 242180 w 333452"/>
              <a:gd name="connsiteY11" fmla="*/ 21015 h 294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33452" h="294678">
                <a:moveTo>
                  <a:pt x="242180" y="21015"/>
                </a:moveTo>
                <a:cubicBezTo>
                  <a:pt x="271492" y="21015"/>
                  <a:pt x="294756" y="143850"/>
                  <a:pt x="294756" y="294679"/>
                </a:cubicBezTo>
                <a:lnTo>
                  <a:pt x="336865" y="294679"/>
                </a:lnTo>
                <a:cubicBezTo>
                  <a:pt x="336865" y="131830"/>
                  <a:pt x="294446" y="0"/>
                  <a:pt x="242102" y="0"/>
                </a:cubicBezTo>
                <a:cubicBezTo>
                  <a:pt x="212324" y="0"/>
                  <a:pt x="185803" y="39627"/>
                  <a:pt x="168432" y="101664"/>
                </a:cubicBezTo>
                <a:cubicBezTo>
                  <a:pt x="151062" y="39627"/>
                  <a:pt x="124463" y="0"/>
                  <a:pt x="94763" y="0"/>
                </a:cubicBezTo>
                <a:cubicBezTo>
                  <a:pt x="42418" y="0"/>
                  <a:pt x="0" y="131830"/>
                  <a:pt x="0" y="294679"/>
                </a:cubicBezTo>
                <a:lnTo>
                  <a:pt x="42108" y="294679"/>
                </a:lnTo>
                <a:cubicBezTo>
                  <a:pt x="42108" y="143540"/>
                  <a:pt x="65372" y="21015"/>
                  <a:pt x="94763" y="21015"/>
                </a:cubicBezTo>
                <a:cubicBezTo>
                  <a:pt x="124153" y="21015"/>
                  <a:pt x="147417" y="134156"/>
                  <a:pt x="147417" y="273664"/>
                </a:cubicBezTo>
                <a:lnTo>
                  <a:pt x="189525" y="273664"/>
                </a:lnTo>
                <a:cubicBezTo>
                  <a:pt x="189525" y="134079"/>
                  <a:pt x="212789" y="21015"/>
                  <a:pt x="242180" y="21015"/>
                </a:cubicBezTo>
              </a:path>
            </a:pathLst>
          </a:custGeom>
          <a:solidFill>
            <a:schemeClr val="bg1"/>
          </a:solidFill>
          <a:ln w="7620" cap="flat">
            <a:noFill/>
            <a:prstDash val="solid"/>
            <a:miter/>
          </a:ln>
        </p:spPr>
        <p:txBody>
          <a:bodyPr rtlCol="0" anchor="ctr"/>
          <a:lstStyle/>
          <a:p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98876F-E8DB-4123-92BA-77F285E30396}"/>
              </a:ext>
            </a:extLst>
          </p:cNvPr>
          <p:cNvSpPr txBox="1"/>
          <p:nvPr userDrawn="1"/>
        </p:nvSpPr>
        <p:spPr>
          <a:xfrm>
            <a:off x="619304" y="368979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FOR</a:t>
            </a:r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3E52CB05-B20A-45A4-8DF2-98DC327CC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25" t="28144" r="12201" b="39801"/>
          <a:stretch/>
        </p:blipFill>
        <p:spPr>
          <a:xfrm>
            <a:off x="335360" y="332656"/>
            <a:ext cx="314280" cy="288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922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1400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66562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Picture Placeholder 14">
            <a:extLst>
              <a:ext uri="{FF2B5EF4-FFF2-40B4-BE49-F238E27FC236}">
                <a16:creationId xmlns:a16="http://schemas.microsoft.com/office/drawing/2014/main" id="{C0AE5F4C-D104-434A-B4E4-B2F44A3957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19537" y="1700808"/>
            <a:ext cx="1511696" cy="1512168"/>
          </a:xfrm>
          <a:prstGeom prst="ellipse">
            <a:avLst/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  <a:endParaRPr lang="pl-PL"/>
          </a:p>
        </p:txBody>
      </p:sp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2D632BDF-651D-6746-BEBD-4656158D951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19537" y="3933056"/>
            <a:ext cx="1511696" cy="1512168"/>
          </a:xfrm>
          <a:prstGeom prst="ellipse">
            <a:avLst/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  <a:endParaRPr lang="pl-PL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391C9247-1C16-BE49-B1F8-9FAB37C1DB9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26361" y="1700808"/>
            <a:ext cx="1511696" cy="1512168"/>
          </a:xfrm>
          <a:prstGeom prst="ellipse">
            <a:avLst/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  <a:endParaRPr lang="pl-PL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A9AE2F1-4354-714E-8F1B-4EFD372BA7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6361" y="3933056"/>
            <a:ext cx="1511696" cy="1512168"/>
          </a:xfrm>
          <a:prstGeom prst="ellipse">
            <a:avLst/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76570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0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Object 1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9991689" cy="1104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5400" y="258776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5400" y="3523868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D6AE9D-467E-46C0-B32B-79A9B07CDD1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95400" y="45091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E8C6158-E219-45AC-9515-B66E8A088E07}"/>
              </a:ext>
            </a:extLst>
          </p:cNvPr>
          <p:cNvSpPr/>
          <p:nvPr userDrawn="1"/>
        </p:nvSpPr>
        <p:spPr>
          <a:xfrm>
            <a:off x="8832304" y="6165304"/>
            <a:ext cx="3359696" cy="6926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C4FBFA83-4773-224C-A02F-A9CC35E71D4D}"/>
              </a:ext>
            </a:extLst>
          </p:cNvPr>
          <p:cNvSpPr/>
          <p:nvPr userDrawn="1"/>
        </p:nvSpPr>
        <p:spPr>
          <a:xfrm flipH="1">
            <a:off x="5727043" y="3348284"/>
            <a:ext cx="6473665" cy="3513828"/>
          </a:xfrm>
          <a:custGeom>
            <a:avLst/>
            <a:gdLst>
              <a:gd name="connsiteX0" fmla="*/ 1466682 w 7695555"/>
              <a:gd name="connsiteY0" fmla="*/ 4238695 h 4265636"/>
              <a:gd name="connsiteX1" fmla="*/ 1647754 w 7695555"/>
              <a:gd name="connsiteY1" fmla="*/ 4238695 h 4265636"/>
              <a:gd name="connsiteX2" fmla="*/ 1647754 w 7695555"/>
              <a:gd name="connsiteY2" fmla="*/ 4265636 h 4265636"/>
              <a:gd name="connsiteX3" fmla="*/ 2297350 w 7695555"/>
              <a:gd name="connsiteY3" fmla="*/ 4265636 h 4265636"/>
              <a:gd name="connsiteX4" fmla="*/ 2297350 w 7695555"/>
              <a:gd name="connsiteY4" fmla="*/ 4240940 h 4265636"/>
              <a:gd name="connsiteX5" fmla="*/ 2942418 w 7695555"/>
              <a:gd name="connsiteY5" fmla="*/ 4240940 h 4265636"/>
              <a:gd name="connsiteX6" fmla="*/ 2942418 w 7695555"/>
              <a:gd name="connsiteY6" fmla="*/ 4265636 h 4265636"/>
              <a:gd name="connsiteX7" fmla="*/ 3598804 w 7695555"/>
              <a:gd name="connsiteY7" fmla="*/ 4265636 h 4265636"/>
              <a:gd name="connsiteX8" fmla="*/ 3598804 w 7695555"/>
              <a:gd name="connsiteY8" fmla="*/ 4240940 h 4265636"/>
              <a:gd name="connsiteX9" fmla="*/ 3673496 w 7695555"/>
              <a:gd name="connsiteY9" fmla="*/ 4240940 h 4265636"/>
              <a:gd name="connsiteX10" fmla="*/ 5144705 w 7695555"/>
              <a:gd name="connsiteY10" fmla="*/ 731893 h 4265636"/>
              <a:gd name="connsiteX11" fmla="*/ 6563856 w 7695555"/>
              <a:gd name="connsiteY11" fmla="*/ 4238695 h 4265636"/>
              <a:gd name="connsiteX12" fmla="*/ 6837727 w 7695555"/>
              <a:gd name="connsiteY12" fmla="*/ 4238695 h 4265636"/>
              <a:gd name="connsiteX13" fmla="*/ 6837727 w 7695555"/>
              <a:gd name="connsiteY13" fmla="*/ 4265636 h 4265636"/>
              <a:gd name="connsiteX14" fmla="*/ 7487323 w 7695555"/>
              <a:gd name="connsiteY14" fmla="*/ 4265636 h 4265636"/>
              <a:gd name="connsiteX15" fmla="*/ 7487323 w 7695555"/>
              <a:gd name="connsiteY15" fmla="*/ 4240940 h 4265636"/>
              <a:gd name="connsiteX16" fmla="*/ 7813252 w 7695555"/>
              <a:gd name="connsiteY16" fmla="*/ 4240940 h 4265636"/>
              <a:gd name="connsiteX17" fmla="*/ 7813252 w 7695555"/>
              <a:gd name="connsiteY17" fmla="*/ 4214000 h 4265636"/>
              <a:gd name="connsiteX18" fmla="*/ 5146969 w 7695555"/>
              <a:gd name="connsiteY18" fmla="*/ 0 h 4265636"/>
              <a:gd name="connsiteX19" fmla="*/ 5146969 w 7695555"/>
              <a:gd name="connsiteY19" fmla="*/ 0 h 4265636"/>
              <a:gd name="connsiteX20" fmla="*/ 2571221 w 7695555"/>
              <a:gd name="connsiteY20" fmla="*/ 3524762 h 4265636"/>
              <a:gd name="connsiteX21" fmla="*/ 0 w 7695555"/>
              <a:gd name="connsiteY21" fmla="*/ 0 h 4265636"/>
              <a:gd name="connsiteX22" fmla="*/ 0 w 7695555"/>
              <a:gd name="connsiteY22" fmla="*/ 729648 h 4265636"/>
              <a:gd name="connsiteX23" fmla="*/ 0 w 7695555"/>
              <a:gd name="connsiteY23" fmla="*/ 729648 h 4265636"/>
              <a:gd name="connsiteX24" fmla="*/ 1466682 w 7695555"/>
              <a:gd name="connsiteY24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2942418 w 7813252"/>
              <a:gd name="connsiteY6" fmla="*/ 4265636 h 4265636"/>
              <a:gd name="connsiteX7" fmla="*/ 3598804 w 7813252"/>
              <a:gd name="connsiteY7" fmla="*/ 4265636 h 4265636"/>
              <a:gd name="connsiteX8" fmla="*/ 3598804 w 7813252"/>
              <a:gd name="connsiteY8" fmla="*/ 4240940 h 4265636"/>
              <a:gd name="connsiteX9" fmla="*/ 3673496 w 7813252"/>
              <a:gd name="connsiteY9" fmla="*/ 4240940 h 4265636"/>
              <a:gd name="connsiteX10" fmla="*/ 5144705 w 7813252"/>
              <a:gd name="connsiteY10" fmla="*/ 731893 h 4265636"/>
              <a:gd name="connsiteX11" fmla="*/ 6563856 w 7813252"/>
              <a:gd name="connsiteY11" fmla="*/ 4238695 h 4265636"/>
              <a:gd name="connsiteX12" fmla="*/ 6837727 w 7813252"/>
              <a:gd name="connsiteY12" fmla="*/ 4238695 h 4265636"/>
              <a:gd name="connsiteX13" fmla="*/ 7487323 w 7813252"/>
              <a:gd name="connsiteY13" fmla="*/ 4265636 h 4265636"/>
              <a:gd name="connsiteX14" fmla="*/ 7487323 w 7813252"/>
              <a:gd name="connsiteY14" fmla="*/ 4240940 h 4265636"/>
              <a:gd name="connsiteX15" fmla="*/ 7813252 w 7813252"/>
              <a:gd name="connsiteY15" fmla="*/ 4240940 h 4265636"/>
              <a:gd name="connsiteX16" fmla="*/ 7813252 w 7813252"/>
              <a:gd name="connsiteY16" fmla="*/ 4214000 h 4265636"/>
              <a:gd name="connsiteX17" fmla="*/ 5146969 w 7813252"/>
              <a:gd name="connsiteY17" fmla="*/ 0 h 4265636"/>
              <a:gd name="connsiteX18" fmla="*/ 5146969 w 7813252"/>
              <a:gd name="connsiteY18" fmla="*/ 0 h 4265636"/>
              <a:gd name="connsiteX19" fmla="*/ 2571221 w 7813252"/>
              <a:gd name="connsiteY19" fmla="*/ 3524762 h 4265636"/>
              <a:gd name="connsiteX20" fmla="*/ 0 w 7813252"/>
              <a:gd name="connsiteY20" fmla="*/ 0 h 4265636"/>
              <a:gd name="connsiteX21" fmla="*/ 0 w 7813252"/>
              <a:gd name="connsiteY21" fmla="*/ 729648 h 4265636"/>
              <a:gd name="connsiteX22" fmla="*/ 0 w 7813252"/>
              <a:gd name="connsiteY22" fmla="*/ 729648 h 4265636"/>
              <a:gd name="connsiteX23" fmla="*/ 1466682 w 7813252"/>
              <a:gd name="connsiteY23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2942418 w 7813252"/>
              <a:gd name="connsiteY6" fmla="*/ 4265636 h 4265636"/>
              <a:gd name="connsiteX7" fmla="*/ 3598804 w 7813252"/>
              <a:gd name="connsiteY7" fmla="*/ 4265636 h 4265636"/>
              <a:gd name="connsiteX8" fmla="*/ 3598804 w 7813252"/>
              <a:gd name="connsiteY8" fmla="*/ 4240940 h 4265636"/>
              <a:gd name="connsiteX9" fmla="*/ 3673496 w 7813252"/>
              <a:gd name="connsiteY9" fmla="*/ 4240940 h 4265636"/>
              <a:gd name="connsiteX10" fmla="*/ 5144705 w 7813252"/>
              <a:gd name="connsiteY10" fmla="*/ 731893 h 4265636"/>
              <a:gd name="connsiteX11" fmla="*/ 6563856 w 7813252"/>
              <a:gd name="connsiteY11" fmla="*/ 4238695 h 4265636"/>
              <a:gd name="connsiteX12" fmla="*/ 6837727 w 7813252"/>
              <a:gd name="connsiteY12" fmla="*/ 4238695 h 4265636"/>
              <a:gd name="connsiteX13" fmla="*/ 7487323 w 7813252"/>
              <a:gd name="connsiteY13" fmla="*/ 4265636 h 4265636"/>
              <a:gd name="connsiteX14" fmla="*/ 7813252 w 7813252"/>
              <a:gd name="connsiteY14" fmla="*/ 4240940 h 4265636"/>
              <a:gd name="connsiteX15" fmla="*/ 7813252 w 7813252"/>
              <a:gd name="connsiteY15" fmla="*/ 4214000 h 4265636"/>
              <a:gd name="connsiteX16" fmla="*/ 5146969 w 7813252"/>
              <a:gd name="connsiteY16" fmla="*/ 0 h 4265636"/>
              <a:gd name="connsiteX17" fmla="*/ 5146969 w 7813252"/>
              <a:gd name="connsiteY17" fmla="*/ 0 h 4265636"/>
              <a:gd name="connsiteX18" fmla="*/ 2571221 w 7813252"/>
              <a:gd name="connsiteY18" fmla="*/ 3524762 h 4265636"/>
              <a:gd name="connsiteX19" fmla="*/ 0 w 7813252"/>
              <a:gd name="connsiteY19" fmla="*/ 0 h 4265636"/>
              <a:gd name="connsiteX20" fmla="*/ 0 w 7813252"/>
              <a:gd name="connsiteY20" fmla="*/ 729648 h 4265636"/>
              <a:gd name="connsiteX21" fmla="*/ 0 w 7813252"/>
              <a:gd name="connsiteY21" fmla="*/ 729648 h 4265636"/>
              <a:gd name="connsiteX22" fmla="*/ 1466682 w 7813252"/>
              <a:gd name="connsiteY22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2942418 w 7813252"/>
              <a:gd name="connsiteY6" fmla="*/ 4265636 h 4265636"/>
              <a:gd name="connsiteX7" fmla="*/ 3598804 w 7813252"/>
              <a:gd name="connsiteY7" fmla="*/ 4265636 h 4265636"/>
              <a:gd name="connsiteX8" fmla="*/ 3598804 w 7813252"/>
              <a:gd name="connsiteY8" fmla="*/ 4240940 h 4265636"/>
              <a:gd name="connsiteX9" fmla="*/ 3673496 w 7813252"/>
              <a:gd name="connsiteY9" fmla="*/ 4240940 h 4265636"/>
              <a:gd name="connsiteX10" fmla="*/ 5144705 w 7813252"/>
              <a:gd name="connsiteY10" fmla="*/ 731893 h 4265636"/>
              <a:gd name="connsiteX11" fmla="*/ 6563856 w 7813252"/>
              <a:gd name="connsiteY11" fmla="*/ 4238695 h 4265636"/>
              <a:gd name="connsiteX12" fmla="*/ 6837727 w 7813252"/>
              <a:gd name="connsiteY12" fmla="*/ 4238695 h 4265636"/>
              <a:gd name="connsiteX13" fmla="*/ 7813252 w 7813252"/>
              <a:gd name="connsiteY13" fmla="*/ 4240940 h 4265636"/>
              <a:gd name="connsiteX14" fmla="*/ 7813252 w 7813252"/>
              <a:gd name="connsiteY14" fmla="*/ 4214000 h 4265636"/>
              <a:gd name="connsiteX15" fmla="*/ 5146969 w 7813252"/>
              <a:gd name="connsiteY15" fmla="*/ 0 h 4265636"/>
              <a:gd name="connsiteX16" fmla="*/ 5146969 w 7813252"/>
              <a:gd name="connsiteY16" fmla="*/ 0 h 4265636"/>
              <a:gd name="connsiteX17" fmla="*/ 2571221 w 7813252"/>
              <a:gd name="connsiteY17" fmla="*/ 3524762 h 4265636"/>
              <a:gd name="connsiteX18" fmla="*/ 0 w 7813252"/>
              <a:gd name="connsiteY18" fmla="*/ 0 h 4265636"/>
              <a:gd name="connsiteX19" fmla="*/ 0 w 7813252"/>
              <a:gd name="connsiteY19" fmla="*/ 729648 h 4265636"/>
              <a:gd name="connsiteX20" fmla="*/ 0 w 7813252"/>
              <a:gd name="connsiteY20" fmla="*/ 729648 h 4265636"/>
              <a:gd name="connsiteX21" fmla="*/ 1466682 w 7813252"/>
              <a:gd name="connsiteY21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2942418 w 7813252"/>
              <a:gd name="connsiteY6" fmla="*/ 4265636 h 4265636"/>
              <a:gd name="connsiteX7" fmla="*/ 3598804 w 7813252"/>
              <a:gd name="connsiteY7" fmla="*/ 4265636 h 4265636"/>
              <a:gd name="connsiteX8" fmla="*/ 3598804 w 7813252"/>
              <a:gd name="connsiteY8" fmla="*/ 4240940 h 4265636"/>
              <a:gd name="connsiteX9" fmla="*/ 3673496 w 7813252"/>
              <a:gd name="connsiteY9" fmla="*/ 4240940 h 4265636"/>
              <a:gd name="connsiteX10" fmla="*/ 5144705 w 7813252"/>
              <a:gd name="connsiteY10" fmla="*/ 731893 h 4265636"/>
              <a:gd name="connsiteX11" fmla="*/ 6563856 w 7813252"/>
              <a:gd name="connsiteY11" fmla="*/ 4238695 h 4265636"/>
              <a:gd name="connsiteX12" fmla="*/ 7813252 w 7813252"/>
              <a:gd name="connsiteY12" fmla="*/ 4240940 h 4265636"/>
              <a:gd name="connsiteX13" fmla="*/ 7813252 w 7813252"/>
              <a:gd name="connsiteY13" fmla="*/ 4214000 h 4265636"/>
              <a:gd name="connsiteX14" fmla="*/ 5146969 w 7813252"/>
              <a:gd name="connsiteY14" fmla="*/ 0 h 4265636"/>
              <a:gd name="connsiteX15" fmla="*/ 5146969 w 7813252"/>
              <a:gd name="connsiteY15" fmla="*/ 0 h 4265636"/>
              <a:gd name="connsiteX16" fmla="*/ 2571221 w 7813252"/>
              <a:gd name="connsiteY16" fmla="*/ 3524762 h 4265636"/>
              <a:gd name="connsiteX17" fmla="*/ 0 w 7813252"/>
              <a:gd name="connsiteY17" fmla="*/ 0 h 4265636"/>
              <a:gd name="connsiteX18" fmla="*/ 0 w 7813252"/>
              <a:gd name="connsiteY18" fmla="*/ 729648 h 4265636"/>
              <a:gd name="connsiteX19" fmla="*/ 0 w 7813252"/>
              <a:gd name="connsiteY19" fmla="*/ 729648 h 4265636"/>
              <a:gd name="connsiteX20" fmla="*/ 1466682 w 7813252"/>
              <a:gd name="connsiteY20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3598804 w 7813252"/>
              <a:gd name="connsiteY6" fmla="*/ 4265636 h 4265636"/>
              <a:gd name="connsiteX7" fmla="*/ 3598804 w 7813252"/>
              <a:gd name="connsiteY7" fmla="*/ 4240940 h 4265636"/>
              <a:gd name="connsiteX8" fmla="*/ 3673496 w 7813252"/>
              <a:gd name="connsiteY8" fmla="*/ 4240940 h 4265636"/>
              <a:gd name="connsiteX9" fmla="*/ 5144705 w 7813252"/>
              <a:gd name="connsiteY9" fmla="*/ 731893 h 4265636"/>
              <a:gd name="connsiteX10" fmla="*/ 6563856 w 7813252"/>
              <a:gd name="connsiteY10" fmla="*/ 4238695 h 4265636"/>
              <a:gd name="connsiteX11" fmla="*/ 7813252 w 7813252"/>
              <a:gd name="connsiteY11" fmla="*/ 4240940 h 4265636"/>
              <a:gd name="connsiteX12" fmla="*/ 7813252 w 7813252"/>
              <a:gd name="connsiteY12" fmla="*/ 4214000 h 4265636"/>
              <a:gd name="connsiteX13" fmla="*/ 5146969 w 7813252"/>
              <a:gd name="connsiteY13" fmla="*/ 0 h 4265636"/>
              <a:gd name="connsiteX14" fmla="*/ 5146969 w 7813252"/>
              <a:gd name="connsiteY14" fmla="*/ 0 h 4265636"/>
              <a:gd name="connsiteX15" fmla="*/ 2571221 w 7813252"/>
              <a:gd name="connsiteY15" fmla="*/ 3524762 h 4265636"/>
              <a:gd name="connsiteX16" fmla="*/ 0 w 7813252"/>
              <a:gd name="connsiteY16" fmla="*/ 0 h 4265636"/>
              <a:gd name="connsiteX17" fmla="*/ 0 w 7813252"/>
              <a:gd name="connsiteY17" fmla="*/ 729648 h 4265636"/>
              <a:gd name="connsiteX18" fmla="*/ 0 w 7813252"/>
              <a:gd name="connsiteY18" fmla="*/ 729648 h 4265636"/>
              <a:gd name="connsiteX19" fmla="*/ 1466682 w 7813252"/>
              <a:gd name="connsiteY19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3598804 w 7813252"/>
              <a:gd name="connsiteY5" fmla="*/ 4265636 h 4265636"/>
              <a:gd name="connsiteX6" fmla="*/ 3598804 w 7813252"/>
              <a:gd name="connsiteY6" fmla="*/ 4240940 h 4265636"/>
              <a:gd name="connsiteX7" fmla="*/ 3673496 w 7813252"/>
              <a:gd name="connsiteY7" fmla="*/ 4240940 h 4265636"/>
              <a:gd name="connsiteX8" fmla="*/ 5144705 w 7813252"/>
              <a:gd name="connsiteY8" fmla="*/ 731893 h 4265636"/>
              <a:gd name="connsiteX9" fmla="*/ 6563856 w 7813252"/>
              <a:gd name="connsiteY9" fmla="*/ 4238695 h 4265636"/>
              <a:gd name="connsiteX10" fmla="*/ 7813252 w 7813252"/>
              <a:gd name="connsiteY10" fmla="*/ 4240940 h 4265636"/>
              <a:gd name="connsiteX11" fmla="*/ 7813252 w 7813252"/>
              <a:gd name="connsiteY11" fmla="*/ 4214000 h 4265636"/>
              <a:gd name="connsiteX12" fmla="*/ 5146969 w 7813252"/>
              <a:gd name="connsiteY12" fmla="*/ 0 h 4265636"/>
              <a:gd name="connsiteX13" fmla="*/ 5146969 w 7813252"/>
              <a:gd name="connsiteY13" fmla="*/ 0 h 4265636"/>
              <a:gd name="connsiteX14" fmla="*/ 2571221 w 7813252"/>
              <a:gd name="connsiteY14" fmla="*/ 3524762 h 4265636"/>
              <a:gd name="connsiteX15" fmla="*/ 0 w 7813252"/>
              <a:gd name="connsiteY15" fmla="*/ 0 h 4265636"/>
              <a:gd name="connsiteX16" fmla="*/ 0 w 7813252"/>
              <a:gd name="connsiteY16" fmla="*/ 729648 h 4265636"/>
              <a:gd name="connsiteX17" fmla="*/ 0 w 7813252"/>
              <a:gd name="connsiteY17" fmla="*/ 729648 h 4265636"/>
              <a:gd name="connsiteX18" fmla="*/ 1466682 w 7813252"/>
              <a:gd name="connsiteY18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3598804 w 7813252"/>
              <a:gd name="connsiteY4" fmla="*/ 4265636 h 4265636"/>
              <a:gd name="connsiteX5" fmla="*/ 3598804 w 7813252"/>
              <a:gd name="connsiteY5" fmla="*/ 4240940 h 4265636"/>
              <a:gd name="connsiteX6" fmla="*/ 3673496 w 7813252"/>
              <a:gd name="connsiteY6" fmla="*/ 4240940 h 4265636"/>
              <a:gd name="connsiteX7" fmla="*/ 5144705 w 7813252"/>
              <a:gd name="connsiteY7" fmla="*/ 731893 h 4265636"/>
              <a:gd name="connsiteX8" fmla="*/ 6563856 w 7813252"/>
              <a:gd name="connsiteY8" fmla="*/ 4238695 h 4265636"/>
              <a:gd name="connsiteX9" fmla="*/ 7813252 w 7813252"/>
              <a:gd name="connsiteY9" fmla="*/ 4240940 h 4265636"/>
              <a:gd name="connsiteX10" fmla="*/ 7813252 w 7813252"/>
              <a:gd name="connsiteY10" fmla="*/ 4214000 h 4265636"/>
              <a:gd name="connsiteX11" fmla="*/ 5146969 w 7813252"/>
              <a:gd name="connsiteY11" fmla="*/ 0 h 4265636"/>
              <a:gd name="connsiteX12" fmla="*/ 5146969 w 7813252"/>
              <a:gd name="connsiteY12" fmla="*/ 0 h 4265636"/>
              <a:gd name="connsiteX13" fmla="*/ 2571221 w 7813252"/>
              <a:gd name="connsiteY13" fmla="*/ 3524762 h 4265636"/>
              <a:gd name="connsiteX14" fmla="*/ 0 w 7813252"/>
              <a:gd name="connsiteY14" fmla="*/ 0 h 4265636"/>
              <a:gd name="connsiteX15" fmla="*/ 0 w 7813252"/>
              <a:gd name="connsiteY15" fmla="*/ 729648 h 4265636"/>
              <a:gd name="connsiteX16" fmla="*/ 0 w 7813252"/>
              <a:gd name="connsiteY16" fmla="*/ 729648 h 4265636"/>
              <a:gd name="connsiteX17" fmla="*/ 1466682 w 7813252"/>
              <a:gd name="connsiteY17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3598804 w 7813252"/>
              <a:gd name="connsiteY4" fmla="*/ 4265636 h 4265636"/>
              <a:gd name="connsiteX5" fmla="*/ 3673496 w 7813252"/>
              <a:gd name="connsiteY5" fmla="*/ 4240940 h 4265636"/>
              <a:gd name="connsiteX6" fmla="*/ 5144705 w 7813252"/>
              <a:gd name="connsiteY6" fmla="*/ 731893 h 4265636"/>
              <a:gd name="connsiteX7" fmla="*/ 6563856 w 7813252"/>
              <a:gd name="connsiteY7" fmla="*/ 4238695 h 4265636"/>
              <a:gd name="connsiteX8" fmla="*/ 7813252 w 7813252"/>
              <a:gd name="connsiteY8" fmla="*/ 4240940 h 4265636"/>
              <a:gd name="connsiteX9" fmla="*/ 7813252 w 7813252"/>
              <a:gd name="connsiteY9" fmla="*/ 4214000 h 4265636"/>
              <a:gd name="connsiteX10" fmla="*/ 5146969 w 7813252"/>
              <a:gd name="connsiteY10" fmla="*/ 0 h 4265636"/>
              <a:gd name="connsiteX11" fmla="*/ 5146969 w 7813252"/>
              <a:gd name="connsiteY11" fmla="*/ 0 h 4265636"/>
              <a:gd name="connsiteX12" fmla="*/ 2571221 w 7813252"/>
              <a:gd name="connsiteY12" fmla="*/ 3524762 h 4265636"/>
              <a:gd name="connsiteX13" fmla="*/ 0 w 7813252"/>
              <a:gd name="connsiteY13" fmla="*/ 0 h 4265636"/>
              <a:gd name="connsiteX14" fmla="*/ 0 w 7813252"/>
              <a:gd name="connsiteY14" fmla="*/ 729648 h 4265636"/>
              <a:gd name="connsiteX15" fmla="*/ 0 w 7813252"/>
              <a:gd name="connsiteY15" fmla="*/ 729648 h 4265636"/>
              <a:gd name="connsiteX16" fmla="*/ 1466682 w 7813252"/>
              <a:gd name="connsiteY16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3673496 w 7813252"/>
              <a:gd name="connsiteY4" fmla="*/ 4240940 h 4265636"/>
              <a:gd name="connsiteX5" fmla="*/ 5144705 w 7813252"/>
              <a:gd name="connsiteY5" fmla="*/ 731893 h 4265636"/>
              <a:gd name="connsiteX6" fmla="*/ 6563856 w 7813252"/>
              <a:gd name="connsiteY6" fmla="*/ 4238695 h 4265636"/>
              <a:gd name="connsiteX7" fmla="*/ 7813252 w 7813252"/>
              <a:gd name="connsiteY7" fmla="*/ 4240940 h 4265636"/>
              <a:gd name="connsiteX8" fmla="*/ 7813252 w 7813252"/>
              <a:gd name="connsiteY8" fmla="*/ 4214000 h 4265636"/>
              <a:gd name="connsiteX9" fmla="*/ 5146969 w 7813252"/>
              <a:gd name="connsiteY9" fmla="*/ 0 h 4265636"/>
              <a:gd name="connsiteX10" fmla="*/ 5146969 w 7813252"/>
              <a:gd name="connsiteY10" fmla="*/ 0 h 4265636"/>
              <a:gd name="connsiteX11" fmla="*/ 2571221 w 7813252"/>
              <a:gd name="connsiteY11" fmla="*/ 3524762 h 4265636"/>
              <a:gd name="connsiteX12" fmla="*/ 0 w 7813252"/>
              <a:gd name="connsiteY12" fmla="*/ 0 h 4265636"/>
              <a:gd name="connsiteX13" fmla="*/ 0 w 7813252"/>
              <a:gd name="connsiteY13" fmla="*/ 729648 h 4265636"/>
              <a:gd name="connsiteX14" fmla="*/ 0 w 7813252"/>
              <a:gd name="connsiteY14" fmla="*/ 729648 h 4265636"/>
              <a:gd name="connsiteX15" fmla="*/ 1466682 w 7813252"/>
              <a:gd name="connsiteY15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3673496 w 7813252"/>
              <a:gd name="connsiteY3" fmla="*/ 4240940 h 4265636"/>
              <a:gd name="connsiteX4" fmla="*/ 5144705 w 7813252"/>
              <a:gd name="connsiteY4" fmla="*/ 731893 h 4265636"/>
              <a:gd name="connsiteX5" fmla="*/ 6563856 w 7813252"/>
              <a:gd name="connsiteY5" fmla="*/ 4238695 h 4265636"/>
              <a:gd name="connsiteX6" fmla="*/ 7813252 w 7813252"/>
              <a:gd name="connsiteY6" fmla="*/ 4240940 h 4265636"/>
              <a:gd name="connsiteX7" fmla="*/ 7813252 w 7813252"/>
              <a:gd name="connsiteY7" fmla="*/ 4214000 h 4265636"/>
              <a:gd name="connsiteX8" fmla="*/ 5146969 w 7813252"/>
              <a:gd name="connsiteY8" fmla="*/ 0 h 4265636"/>
              <a:gd name="connsiteX9" fmla="*/ 5146969 w 7813252"/>
              <a:gd name="connsiteY9" fmla="*/ 0 h 4265636"/>
              <a:gd name="connsiteX10" fmla="*/ 2571221 w 7813252"/>
              <a:gd name="connsiteY10" fmla="*/ 3524762 h 4265636"/>
              <a:gd name="connsiteX11" fmla="*/ 0 w 7813252"/>
              <a:gd name="connsiteY11" fmla="*/ 0 h 4265636"/>
              <a:gd name="connsiteX12" fmla="*/ 0 w 7813252"/>
              <a:gd name="connsiteY12" fmla="*/ 729648 h 4265636"/>
              <a:gd name="connsiteX13" fmla="*/ 0 w 7813252"/>
              <a:gd name="connsiteY13" fmla="*/ 729648 h 4265636"/>
              <a:gd name="connsiteX14" fmla="*/ 1466682 w 7813252"/>
              <a:gd name="connsiteY14" fmla="*/ 4238695 h 4265636"/>
              <a:gd name="connsiteX0" fmla="*/ 1466682 w 7813252"/>
              <a:gd name="connsiteY0" fmla="*/ 4238695 h 4240940"/>
              <a:gd name="connsiteX1" fmla="*/ 1647754 w 7813252"/>
              <a:gd name="connsiteY1" fmla="*/ 4238695 h 4240940"/>
              <a:gd name="connsiteX2" fmla="*/ 3673496 w 7813252"/>
              <a:gd name="connsiteY2" fmla="*/ 4240940 h 4240940"/>
              <a:gd name="connsiteX3" fmla="*/ 5144705 w 7813252"/>
              <a:gd name="connsiteY3" fmla="*/ 731893 h 4240940"/>
              <a:gd name="connsiteX4" fmla="*/ 6563856 w 7813252"/>
              <a:gd name="connsiteY4" fmla="*/ 4238695 h 4240940"/>
              <a:gd name="connsiteX5" fmla="*/ 7813252 w 7813252"/>
              <a:gd name="connsiteY5" fmla="*/ 4240940 h 4240940"/>
              <a:gd name="connsiteX6" fmla="*/ 7813252 w 7813252"/>
              <a:gd name="connsiteY6" fmla="*/ 4214000 h 4240940"/>
              <a:gd name="connsiteX7" fmla="*/ 5146969 w 7813252"/>
              <a:gd name="connsiteY7" fmla="*/ 0 h 4240940"/>
              <a:gd name="connsiteX8" fmla="*/ 5146969 w 7813252"/>
              <a:gd name="connsiteY8" fmla="*/ 0 h 4240940"/>
              <a:gd name="connsiteX9" fmla="*/ 2571221 w 7813252"/>
              <a:gd name="connsiteY9" fmla="*/ 3524762 h 4240940"/>
              <a:gd name="connsiteX10" fmla="*/ 0 w 7813252"/>
              <a:gd name="connsiteY10" fmla="*/ 0 h 4240940"/>
              <a:gd name="connsiteX11" fmla="*/ 0 w 7813252"/>
              <a:gd name="connsiteY11" fmla="*/ 729648 h 4240940"/>
              <a:gd name="connsiteX12" fmla="*/ 0 w 7813252"/>
              <a:gd name="connsiteY12" fmla="*/ 729648 h 4240940"/>
              <a:gd name="connsiteX13" fmla="*/ 1466682 w 7813252"/>
              <a:gd name="connsiteY13" fmla="*/ 4238695 h 4240940"/>
              <a:gd name="connsiteX0" fmla="*/ 1466682 w 7813252"/>
              <a:gd name="connsiteY0" fmla="*/ 4238695 h 4240940"/>
              <a:gd name="connsiteX1" fmla="*/ 3673496 w 7813252"/>
              <a:gd name="connsiteY1" fmla="*/ 4240940 h 4240940"/>
              <a:gd name="connsiteX2" fmla="*/ 5144705 w 7813252"/>
              <a:gd name="connsiteY2" fmla="*/ 731893 h 4240940"/>
              <a:gd name="connsiteX3" fmla="*/ 6563856 w 7813252"/>
              <a:gd name="connsiteY3" fmla="*/ 4238695 h 4240940"/>
              <a:gd name="connsiteX4" fmla="*/ 7813252 w 7813252"/>
              <a:gd name="connsiteY4" fmla="*/ 4240940 h 4240940"/>
              <a:gd name="connsiteX5" fmla="*/ 7813252 w 7813252"/>
              <a:gd name="connsiteY5" fmla="*/ 4214000 h 4240940"/>
              <a:gd name="connsiteX6" fmla="*/ 5146969 w 7813252"/>
              <a:gd name="connsiteY6" fmla="*/ 0 h 4240940"/>
              <a:gd name="connsiteX7" fmla="*/ 5146969 w 7813252"/>
              <a:gd name="connsiteY7" fmla="*/ 0 h 4240940"/>
              <a:gd name="connsiteX8" fmla="*/ 2571221 w 7813252"/>
              <a:gd name="connsiteY8" fmla="*/ 3524762 h 4240940"/>
              <a:gd name="connsiteX9" fmla="*/ 0 w 7813252"/>
              <a:gd name="connsiteY9" fmla="*/ 0 h 4240940"/>
              <a:gd name="connsiteX10" fmla="*/ 0 w 7813252"/>
              <a:gd name="connsiteY10" fmla="*/ 729648 h 4240940"/>
              <a:gd name="connsiteX11" fmla="*/ 0 w 7813252"/>
              <a:gd name="connsiteY11" fmla="*/ 729648 h 4240940"/>
              <a:gd name="connsiteX12" fmla="*/ 1466682 w 7813252"/>
              <a:gd name="connsiteY12" fmla="*/ 4238695 h 4240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813252" h="4240940">
                <a:moveTo>
                  <a:pt x="1466682" y="4238695"/>
                </a:moveTo>
                <a:lnTo>
                  <a:pt x="3673496" y="4240940"/>
                </a:lnTo>
                <a:cubicBezTo>
                  <a:pt x="4008479" y="2110367"/>
                  <a:pt x="4542641" y="731893"/>
                  <a:pt x="5144705" y="731893"/>
                </a:cubicBezTo>
                <a:cubicBezTo>
                  <a:pt x="5746769" y="731893"/>
                  <a:pt x="6235663" y="2099142"/>
                  <a:pt x="6563856" y="4238695"/>
                </a:cubicBezTo>
                <a:lnTo>
                  <a:pt x="7813252" y="4240940"/>
                </a:lnTo>
                <a:lnTo>
                  <a:pt x="7813252" y="4214000"/>
                </a:lnTo>
                <a:cubicBezTo>
                  <a:pt x="7220242" y="1663598"/>
                  <a:pt x="6246980" y="0"/>
                  <a:pt x="5146969" y="0"/>
                </a:cubicBezTo>
                <a:lnTo>
                  <a:pt x="5146969" y="0"/>
                </a:lnTo>
                <a:cubicBezTo>
                  <a:pt x="4103542" y="0"/>
                  <a:pt x="3168758" y="1376229"/>
                  <a:pt x="2571221" y="3524762"/>
                </a:cubicBezTo>
                <a:cubicBezTo>
                  <a:pt x="1964630" y="1378474"/>
                  <a:pt x="1038900" y="0"/>
                  <a:pt x="0" y="0"/>
                </a:cubicBezTo>
                <a:lnTo>
                  <a:pt x="0" y="729648"/>
                </a:lnTo>
                <a:lnTo>
                  <a:pt x="0" y="729648"/>
                </a:lnTo>
                <a:cubicBezTo>
                  <a:pt x="599801" y="736384"/>
                  <a:pt x="1131699" y="2114858"/>
                  <a:pt x="1466682" y="4238695"/>
                </a:cubicBezTo>
                <a:close/>
              </a:path>
            </a:pathLst>
          </a:custGeom>
          <a:solidFill>
            <a:srgbClr val="FFB71B"/>
          </a:solidFill>
          <a:ln w="226151" cap="flat">
            <a:noFill/>
            <a:prstDash val="solid"/>
            <a:miter/>
          </a:ln>
        </p:spPr>
        <p:txBody>
          <a:bodyPr rtlCol="0" anchor="ctr"/>
          <a:lstStyle/>
          <a:p>
            <a:endParaRPr lang="pl-PL"/>
          </a:p>
        </p:txBody>
      </p:sp>
      <p:sp>
        <p:nvSpPr>
          <p:cNvPr id="16" name="Retângulo 43">
            <a:extLst>
              <a:ext uri="{FF2B5EF4-FFF2-40B4-BE49-F238E27FC236}">
                <a16:creationId xmlns:a16="http://schemas.microsoft.com/office/drawing/2014/main" id="{8C5157B8-62A8-40A1-93CD-067B1CF0FEF3}"/>
              </a:ext>
            </a:extLst>
          </p:cNvPr>
          <p:cNvSpPr/>
          <p:nvPr userDrawn="1"/>
        </p:nvSpPr>
        <p:spPr>
          <a:xfrm>
            <a:off x="5374063" y="6669360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275535B-8983-4714-ABC0-737C4F8B7000}"/>
              </a:ext>
            </a:extLst>
          </p:cNvPr>
          <p:cNvSpPr txBox="1">
            <a:spLocks/>
          </p:cNvSpPr>
          <p:nvPr userDrawn="1"/>
        </p:nvSpPr>
        <p:spPr>
          <a:xfrm>
            <a:off x="2639616" y="6669360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</a:rPr>
              <a:t>© Capgemini 2020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29651646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127569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vmlDrawing" Target="../drawings/vmlDrawing11.v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oleObject" Target="../embeddings/oleObject11.bin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3.xml"/><Relationship Id="rId21" Type="http://schemas.openxmlformats.org/officeDocument/2006/relationships/oleObject" Target="../embeddings/oleObject20.bin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tags" Target="../tags/tag2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vmlDrawing" Target="../drawings/vmlDrawing20.v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</a:rPr>
              <a:t>© Capgemini 2021. All rights reserved  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Presentation Title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46000" y="1240610"/>
            <a:ext cx="11700000" cy="51636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9685075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insert title</a:t>
            </a:r>
          </a:p>
        </p:txBody>
      </p:sp>
      <p:sp>
        <p:nvSpPr>
          <p:cNvPr id="44" name="Freeform 43">
            <a:extLst>
              <a:ext uri="{FF2B5EF4-FFF2-40B4-BE49-F238E27FC236}">
                <a16:creationId xmlns:a16="http://schemas.microsoft.com/office/drawing/2014/main" id="{501CB815-B3D5-794D-8D26-13923DD34D61}"/>
              </a:ext>
            </a:extLst>
          </p:cNvPr>
          <p:cNvSpPr>
            <a:spLocks noChangeAspect="1"/>
          </p:cNvSpPr>
          <p:nvPr/>
        </p:nvSpPr>
        <p:spPr>
          <a:xfrm>
            <a:off x="11520001" y="350702"/>
            <a:ext cx="285158" cy="251999"/>
          </a:xfrm>
          <a:custGeom>
            <a:avLst/>
            <a:gdLst>
              <a:gd name="connsiteX0" fmla="*/ 242180 w 333452"/>
              <a:gd name="connsiteY0" fmla="*/ 21015 h 294678"/>
              <a:gd name="connsiteX1" fmla="*/ 294756 w 333452"/>
              <a:gd name="connsiteY1" fmla="*/ 294679 h 294678"/>
              <a:gd name="connsiteX2" fmla="*/ 336865 w 333452"/>
              <a:gd name="connsiteY2" fmla="*/ 294679 h 294678"/>
              <a:gd name="connsiteX3" fmla="*/ 242102 w 333452"/>
              <a:gd name="connsiteY3" fmla="*/ 0 h 294678"/>
              <a:gd name="connsiteX4" fmla="*/ 168432 w 333452"/>
              <a:gd name="connsiteY4" fmla="*/ 101664 h 294678"/>
              <a:gd name="connsiteX5" fmla="*/ 94763 w 333452"/>
              <a:gd name="connsiteY5" fmla="*/ 0 h 294678"/>
              <a:gd name="connsiteX6" fmla="*/ 0 w 333452"/>
              <a:gd name="connsiteY6" fmla="*/ 294679 h 294678"/>
              <a:gd name="connsiteX7" fmla="*/ 42108 w 333452"/>
              <a:gd name="connsiteY7" fmla="*/ 294679 h 294678"/>
              <a:gd name="connsiteX8" fmla="*/ 94763 w 333452"/>
              <a:gd name="connsiteY8" fmla="*/ 21015 h 294678"/>
              <a:gd name="connsiteX9" fmla="*/ 147417 w 333452"/>
              <a:gd name="connsiteY9" fmla="*/ 273664 h 294678"/>
              <a:gd name="connsiteX10" fmla="*/ 189525 w 333452"/>
              <a:gd name="connsiteY10" fmla="*/ 273664 h 294678"/>
              <a:gd name="connsiteX11" fmla="*/ 242180 w 333452"/>
              <a:gd name="connsiteY11" fmla="*/ 21015 h 294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33452" h="294678">
                <a:moveTo>
                  <a:pt x="242180" y="21015"/>
                </a:moveTo>
                <a:cubicBezTo>
                  <a:pt x="271492" y="21015"/>
                  <a:pt x="294756" y="143850"/>
                  <a:pt x="294756" y="294679"/>
                </a:cubicBezTo>
                <a:lnTo>
                  <a:pt x="336865" y="294679"/>
                </a:lnTo>
                <a:cubicBezTo>
                  <a:pt x="336865" y="131830"/>
                  <a:pt x="294446" y="0"/>
                  <a:pt x="242102" y="0"/>
                </a:cubicBezTo>
                <a:cubicBezTo>
                  <a:pt x="212324" y="0"/>
                  <a:pt x="185803" y="39627"/>
                  <a:pt x="168432" y="101664"/>
                </a:cubicBezTo>
                <a:cubicBezTo>
                  <a:pt x="151062" y="39627"/>
                  <a:pt x="124463" y="0"/>
                  <a:pt x="94763" y="0"/>
                </a:cubicBezTo>
                <a:cubicBezTo>
                  <a:pt x="42418" y="0"/>
                  <a:pt x="0" y="131830"/>
                  <a:pt x="0" y="294679"/>
                </a:cubicBezTo>
                <a:lnTo>
                  <a:pt x="42108" y="294679"/>
                </a:lnTo>
                <a:cubicBezTo>
                  <a:pt x="42108" y="143540"/>
                  <a:pt x="65372" y="21015"/>
                  <a:pt x="94763" y="21015"/>
                </a:cubicBezTo>
                <a:cubicBezTo>
                  <a:pt x="124153" y="21015"/>
                  <a:pt x="147417" y="134156"/>
                  <a:pt x="147417" y="273664"/>
                </a:cubicBezTo>
                <a:lnTo>
                  <a:pt x="189525" y="273664"/>
                </a:lnTo>
                <a:cubicBezTo>
                  <a:pt x="189525" y="134079"/>
                  <a:pt x="212789" y="21015"/>
                  <a:pt x="242180" y="21015"/>
                </a:cubicBezTo>
              </a:path>
            </a:pathLst>
          </a:custGeom>
          <a:solidFill>
            <a:schemeClr val="tx1"/>
          </a:solidFill>
          <a:ln w="7620" cap="flat">
            <a:noFill/>
            <a:prstDash val="solid"/>
            <a:miter/>
          </a:ln>
        </p:spPr>
        <p:txBody>
          <a:bodyPr rtlCol="0" anchor="ctr"/>
          <a:lstStyle/>
          <a:p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7093A8-87CE-4297-B2A0-F5A866458FC1}"/>
              </a:ext>
            </a:extLst>
          </p:cNvPr>
          <p:cNvSpPr txBox="1"/>
          <p:nvPr userDrawn="1"/>
        </p:nvSpPr>
        <p:spPr>
          <a:xfrm>
            <a:off x="11145050" y="368979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FOR</a:t>
            </a:r>
            <a:endParaRPr lang="en-US" sz="1000" dirty="0"/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0171C601-CA1E-43F4-BC9F-65B2EC425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25" t="28144" r="12201" b="39801"/>
          <a:stretch/>
        </p:blipFill>
        <p:spPr>
          <a:xfrm>
            <a:off x="10861106" y="332656"/>
            <a:ext cx="314280" cy="288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6189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6" r:id="rId5"/>
    <p:sldLayoutId id="2147483917" r:id="rId6"/>
    <p:sldLayoutId id="2147483955" r:id="rId7"/>
    <p:sldLayoutId id="2147483920" r:id="rId8"/>
    <p:sldLayoutId id="2147483918" r:id="rId9"/>
    <p:sldLayoutId id="2147483919" r:id="rId10"/>
    <p:sldLayoutId id="2147483959" r:id="rId11"/>
    <p:sldLayoutId id="2147483960" r:id="rId12"/>
    <p:sldLayoutId id="2147483958" r:id="rId13"/>
    <p:sldLayoutId id="2147483956" r:id="rId14"/>
    <p:sldLayoutId id="2147483962" r:id="rId1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800" b="1" i="0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Verdana" panose="020B0604030504040204" pitchFamily="34" charset="0"/>
        <a:buChar char="‒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9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</a:rPr>
              <a:t>© Capgemini 2021. All rights reserved  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Presentation Title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241780"/>
            <a:ext cx="11700000" cy="51624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046580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2E2E0DE-8C8C-EE4A-839F-01586D38130E}"/>
              </a:ext>
            </a:extLst>
          </p:cNvPr>
          <p:cNvGrpSpPr/>
          <p:nvPr userDrawn="1"/>
        </p:nvGrpSpPr>
        <p:grpSpPr>
          <a:xfrm>
            <a:off x="10848528" y="332656"/>
            <a:ext cx="956632" cy="293963"/>
            <a:chOff x="10704512" y="188640"/>
            <a:chExt cx="1265868" cy="388988"/>
          </a:xfrm>
        </p:grpSpPr>
        <p:grpSp>
          <p:nvGrpSpPr>
            <p:cNvPr id="2" name="Groupe 1"/>
            <p:cNvGrpSpPr/>
            <p:nvPr userDrawn="1"/>
          </p:nvGrpSpPr>
          <p:grpSpPr>
            <a:xfrm>
              <a:off x="10704512" y="188640"/>
              <a:ext cx="419436" cy="388988"/>
              <a:chOff x="11501102" y="171573"/>
              <a:chExt cx="419436" cy="388988"/>
            </a:xfrm>
          </p:grpSpPr>
          <p:sp>
            <p:nvSpPr>
              <p:cNvPr id="4109" name="Freeform 13"/>
              <p:cNvSpPr>
                <a:spLocks/>
              </p:cNvSpPr>
              <p:nvPr userDrawn="1"/>
            </p:nvSpPr>
            <p:spPr bwMode="auto">
              <a:xfrm>
                <a:off x="11644642" y="334376"/>
                <a:ext cx="275896" cy="226185"/>
              </a:xfrm>
              <a:custGeom>
                <a:avLst/>
                <a:gdLst/>
                <a:ahLst/>
                <a:cxnLst>
                  <a:cxn ang="0">
                    <a:pos x="125" y="107"/>
                  </a:cxn>
                  <a:cxn ang="0">
                    <a:pos x="188" y="43"/>
                  </a:cxn>
                  <a:cxn ang="0">
                    <a:pos x="141" y="0"/>
                  </a:cxn>
                  <a:cxn ang="0">
                    <a:pos x="49" y="99"/>
                  </a:cxn>
                  <a:cxn ang="0">
                    <a:pos x="0" y="144"/>
                  </a:cxn>
                  <a:cxn ang="0">
                    <a:pos x="37" y="154"/>
                  </a:cxn>
                  <a:cxn ang="0">
                    <a:pos x="125" y="125"/>
                  </a:cxn>
                  <a:cxn ang="0">
                    <a:pos x="81" y="86"/>
                  </a:cxn>
                  <a:cxn ang="0">
                    <a:pos x="125" y="107"/>
                  </a:cxn>
                </a:cxnLst>
                <a:rect l="0" t="0" r="r" b="b"/>
                <a:pathLst>
                  <a:path w="188" h="154">
                    <a:moveTo>
                      <a:pt x="125" y="107"/>
                    </a:moveTo>
                    <a:cubicBezTo>
                      <a:pt x="160" y="107"/>
                      <a:pt x="188" y="78"/>
                      <a:pt x="188" y="43"/>
                    </a:cubicBezTo>
                    <a:cubicBezTo>
                      <a:pt x="186" y="28"/>
                      <a:pt x="181" y="0"/>
                      <a:pt x="141" y="0"/>
                    </a:cubicBezTo>
                    <a:cubicBezTo>
                      <a:pt x="99" y="0"/>
                      <a:pt x="84" y="60"/>
                      <a:pt x="49" y="99"/>
                    </a:cubicBezTo>
                    <a:cubicBezTo>
                      <a:pt x="47" y="121"/>
                      <a:pt x="26" y="140"/>
                      <a:pt x="0" y="144"/>
                    </a:cubicBezTo>
                    <a:cubicBezTo>
                      <a:pt x="6" y="150"/>
                      <a:pt x="20" y="154"/>
                      <a:pt x="37" y="154"/>
                    </a:cubicBezTo>
                    <a:cubicBezTo>
                      <a:pt x="68" y="154"/>
                      <a:pt x="106" y="145"/>
                      <a:pt x="125" y="125"/>
                    </a:cubicBezTo>
                    <a:cubicBezTo>
                      <a:pt x="99" y="126"/>
                      <a:pt x="82" y="109"/>
                      <a:pt x="81" y="86"/>
                    </a:cubicBezTo>
                    <a:cubicBezTo>
                      <a:pt x="93" y="101"/>
                      <a:pt x="108" y="107"/>
                      <a:pt x="125" y="107"/>
                    </a:cubicBezTo>
                  </a:path>
                </a:pathLst>
              </a:custGeom>
              <a:solidFill>
                <a:srgbClr val="12ABD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4110" name="Freeform 14"/>
              <p:cNvSpPr>
                <a:spLocks/>
              </p:cNvSpPr>
              <p:nvPr userDrawn="1"/>
            </p:nvSpPr>
            <p:spPr bwMode="auto">
              <a:xfrm>
                <a:off x="11501102" y="171573"/>
                <a:ext cx="419436" cy="356676"/>
              </a:xfrm>
              <a:custGeom>
                <a:avLst/>
                <a:gdLst/>
                <a:ahLst/>
                <a:cxnLst>
                  <a:cxn ang="0">
                    <a:pos x="286" y="152"/>
                  </a:cxn>
                  <a:cxn ang="0">
                    <a:pos x="237" y="51"/>
                  </a:cxn>
                  <a:cxn ang="0">
                    <a:pos x="160" y="3"/>
                  </a:cxn>
                  <a:cxn ang="0">
                    <a:pos x="153" y="0"/>
                  </a:cxn>
                  <a:cxn ang="0">
                    <a:pos x="153" y="0"/>
                  </a:cxn>
                  <a:cxn ang="0">
                    <a:pos x="0" y="158"/>
                  </a:cxn>
                  <a:cxn ang="0">
                    <a:pos x="53" y="236"/>
                  </a:cxn>
                  <a:cxn ang="0">
                    <a:pos x="107" y="237"/>
                  </a:cxn>
                  <a:cxn ang="0">
                    <a:pos x="147" y="210"/>
                  </a:cxn>
                  <a:cxn ang="0">
                    <a:pos x="239" y="111"/>
                  </a:cxn>
                  <a:cxn ang="0">
                    <a:pos x="286" y="154"/>
                  </a:cxn>
                  <a:cxn ang="0">
                    <a:pos x="286" y="152"/>
                  </a:cxn>
                </a:cxnLst>
                <a:rect l="0" t="0" r="r" b="b"/>
                <a:pathLst>
                  <a:path w="286" h="243">
                    <a:moveTo>
                      <a:pt x="286" y="152"/>
                    </a:moveTo>
                    <a:cubicBezTo>
                      <a:pt x="286" y="112"/>
                      <a:pt x="266" y="78"/>
                      <a:pt x="237" y="51"/>
                    </a:cubicBezTo>
                    <a:cubicBezTo>
                      <a:pt x="215" y="30"/>
                      <a:pt x="188" y="15"/>
                      <a:pt x="160" y="3"/>
                    </a:cubicBezTo>
                    <a:cubicBezTo>
                      <a:pt x="158" y="2"/>
                      <a:pt x="156" y="1"/>
                      <a:pt x="153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19" y="41"/>
                      <a:pt x="0" y="72"/>
                      <a:pt x="0" y="158"/>
                    </a:cubicBezTo>
                    <a:cubicBezTo>
                      <a:pt x="0" y="192"/>
                      <a:pt x="21" y="224"/>
                      <a:pt x="53" y="236"/>
                    </a:cubicBezTo>
                    <a:cubicBezTo>
                      <a:pt x="71" y="243"/>
                      <a:pt x="89" y="243"/>
                      <a:pt x="107" y="237"/>
                    </a:cubicBezTo>
                    <a:cubicBezTo>
                      <a:pt x="123" y="232"/>
                      <a:pt x="136" y="222"/>
                      <a:pt x="147" y="210"/>
                    </a:cubicBezTo>
                    <a:cubicBezTo>
                      <a:pt x="182" y="171"/>
                      <a:pt x="197" y="111"/>
                      <a:pt x="239" y="111"/>
                    </a:cubicBezTo>
                    <a:cubicBezTo>
                      <a:pt x="279" y="111"/>
                      <a:pt x="284" y="139"/>
                      <a:pt x="286" y="154"/>
                    </a:cubicBezTo>
                    <a:cubicBezTo>
                      <a:pt x="286" y="154"/>
                      <a:pt x="286" y="153"/>
                      <a:pt x="286" y="152"/>
                    </a:cubicBezTo>
                  </a:path>
                </a:pathLst>
              </a:custGeom>
              <a:solidFill>
                <a:srgbClr val="0070A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CB30D190-4D61-6748-A49C-58BCD1050A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93043" y="211794"/>
              <a:ext cx="377337" cy="333459"/>
            </a:xfrm>
            <a:custGeom>
              <a:avLst/>
              <a:gdLst>
                <a:gd name="connsiteX0" fmla="*/ 242180 w 333452"/>
                <a:gd name="connsiteY0" fmla="*/ 21015 h 294678"/>
                <a:gd name="connsiteX1" fmla="*/ 294756 w 333452"/>
                <a:gd name="connsiteY1" fmla="*/ 294679 h 294678"/>
                <a:gd name="connsiteX2" fmla="*/ 336865 w 333452"/>
                <a:gd name="connsiteY2" fmla="*/ 294679 h 294678"/>
                <a:gd name="connsiteX3" fmla="*/ 242102 w 333452"/>
                <a:gd name="connsiteY3" fmla="*/ 0 h 294678"/>
                <a:gd name="connsiteX4" fmla="*/ 168432 w 333452"/>
                <a:gd name="connsiteY4" fmla="*/ 101664 h 294678"/>
                <a:gd name="connsiteX5" fmla="*/ 94763 w 333452"/>
                <a:gd name="connsiteY5" fmla="*/ 0 h 294678"/>
                <a:gd name="connsiteX6" fmla="*/ 0 w 333452"/>
                <a:gd name="connsiteY6" fmla="*/ 294679 h 294678"/>
                <a:gd name="connsiteX7" fmla="*/ 42108 w 333452"/>
                <a:gd name="connsiteY7" fmla="*/ 294679 h 294678"/>
                <a:gd name="connsiteX8" fmla="*/ 94763 w 333452"/>
                <a:gd name="connsiteY8" fmla="*/ 21015 h 294678"/>
                <a:gd name="connsiteX9" fmla="*/ 147417 w 333452"/>
                <a:gd name="connsiteY9" fmla="*/ 273664 h 294678"/>
                <a:gd name="connsiteX10" fmla="*/ 189525 w 333452"/>
                <a:gd name="connsiteY10" fmla="*/ 273664 h 294678"/>
                <a:gd name="connsiteX11" fmla="*/ 242180 w 333452"/>
                <a:gd name="connsiteY11" fmla="*/ 21015 h 294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3452" h="294678">
                  <a:moveTo>
                    <a:pt x="242180" y="21015"/>
                  </a:moveTo>
                  <a:cubicBezTo>
                    <a:pt x="271492" y="21015"/>
                    <a:pt x="294756" y="143850"/>
                    <a:pt x="294756" y="294679"/>
                  </a:cubicBezTo>
                  <a:lnTo>
                    <a:pt x="336865" y="294679"/>
                  </a:lnTo>
                  <a:cubicBezTo>
                    <a:pt x="336865" y="131830"/>
                    <a:pt x="294446" y="0"/>
                    <a:pt x="242102" y="0"/>
                  </a:cubicBezTo>
                  <a:cubicBezTo>
                    <a:pt x="212324" y="0"/>
                    <a:pt x="185803" y="39627"/>
                    <a:pt x="168432" y="101664"/>
                  </a:cubicBezTo>
                  <a:cubicBezTo>
                    <a:pt x="151062" y="39627"/>
                    <a:pt x="124463" y="0"/>
                    <a:pt x="94763" y="0"/>
                  </a:cubicBezTo>
                  <a:cubicBezTo>
                    <a:pt x="42418" y="0"/>
                    <a:pt x="0" y="131830"/>
                    <a:pt x="0" y="294679"/>
                  </a:cubicBezTo>
                  <a:lnTo>
                    <a:pt x="42108" y="294679"/>
                  </a:lnTo>
                  <a:cubicBezTo>
                    <a:pt x="42108" y="143540"/>
                    <a:pt x="65372" y="21015"/>
                    <a:pt x="94763" y="21015"/>
                  </a:cubicBezTo>
                  <a:cubicBezTo>
                    <a:pt x="124153" y="21015"/>
                    <a:pt x="147417" y="134156"/>
                    <a:pt x="147417" y="273664"/>
                  </a:cubicBezTo>
                  <a:lnTo>
                    <a:pt x="189525" y="273664"/>
                  </a:lnTo>
                  <a:cubicBezTo>
                    <a:pt x="189525" y="134079"/>
                    <a:pt x="212789" y="21015"/>
                    <a:pt x="242180" y="21015"/>
                  </a:cubicBezTo>
                </a:path>
              </a:pathLst>
            </a:custGeom>
            <a:solidFill>
              <a:srgbClr val="FFBC0D"/>
            </a:solidFill>
            <a:ln w="76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 dirty="0">
                <a:solidFill>
                  <a:schemeClr val="tx1"/>
                </a:solidFill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6047CAB1-F18A-4771-B8CB-949B5CB6D3BB}"/>
              </a:ext>
            </a:extLst>
          </p:cNvPr>
          <p:cNvSpPr txBox="1"/>
          <p:nvPr userDrawn="1"/>
        </p:nvSpPr>
        <p:spPr>
          <a:xfrm>
            <a:off x="11145050" y="371915"/>
            <a:ext cx="396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553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3" r:id="rId5"/>
    <p:sldLayoutId id="2147483930" r:id="rId6"/>
    <p:sldLayoutId id="2147483904" r:id="rId7"/>
    <p:sldLayoutId id="2147483950" r:id="rId8"/>
    <p:sldLayoutId id="2147483935" r:id="rId9"/>
    <p:sldLayoutId id="2147483936" r:id="rId10"/>
    <p:sldLayoutId id="2147483934" r:id="rId11"/>
    <p:sldLayoutId id="2147483937" r:id="rId12"/>
    <p:sldLayoutId id="2147483979" r:id="rId13"/>
    <p:sldLayoutId id="2147483978" r:id="rId14"/>
    <p:sldLayoutId id="2147483989" r:id="rId1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800" b="1" i="0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Verdana" panose="020B0604030504040204" pitchFamily="34" charset="0"/>
        <a:buChar char="‒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7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908" r:id="rId3"/>
    <p:sldLayoutId id="2147483841" r:id="rId4"/>
    <p:sldLayoutId id="2147483926" r:id="rId5"/>
    <p:sldLayoutId id="2147483927" r:id="rId6"/>
    <p:sldLayoutId id="2147483980" r:id="rId7"/>
    <p:sldLayoutId id="2147483981" r:id="rId8"/>
    <p:sldLayoutId id="2147483982" r:id="rId9"/>
    <p:sldLayoutId id="2147483983" r:id="rId10"/>
    <p:sldLayoutId id="2147483984" r:id="rId11"/>
    <p:sldLayoutId id="2147483986" r:id="rId12"/>
    <p:sldLayoutId id="2147483988" r:id="rId13"/>
    <p:sldLayoutId id="2147483923" r:id="rId14"/>
    <p:sldLayoutId id="2147483968" r:id="rId15"/>
    <p:sldLayoutId id="2147483974" r:id="rId16"/>
    <p:sldLayoutId id="2147483973" r:id="rId17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47973F-E08F-4F9D-9A2B-42DDEC6E22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990600"/>
            <a:ext cx="5832649" cy="2667000"/>
          </a:xfrm>
        </p:spPr>
        <p:txBody>
          <a:bodyPr/>
          <a:lstStyle/>
          <a:p>
            <a:br>
              <a:rPr lang="en-US" sz="2400" dirty="0">
                <a:solidFill>
                  <a:srgbClr val="281A0D"/>
                </a:solidFill>
              </a:rPr>
            </a:br>
            <a:br>
              <a:rPr lang="en-US" sz="2400" dirty="0">
                <a:solidFill>
                  <a:srgbClr val="281A0D"/>
                </a:solidFill>
              </a:rPr>
            </a:br>
            <a:br>
              <a:rPr lang="en-US" sz="2400" dirty="0">
                <a:solidFill>
                  <a:srgbClr val="281A0D"/>
                </a:solidFill>
              </a:rPr>
            </a:br>
            <a:br>
              <a:rPr lang="en-US" sz="2400" dirty="0">
                <a:solidFill>
                  <a:srgbClr val="281A0D"/>
                </a:solidFill>
              </a:rPr>
            </a:br>
            <a:br>
              <a:rPr lang="en-US" sz="2400" dirty="0">
                <a:solidFill>
                  <a:srgbClr val="281A0D"/>
                </a:solidFill>
              </a:rPr>
            </a:br>
            <a:br>
              <a:rPr lang="en-US" sz="2400" dirty="0">
                <a:solidFill>
                  <a:srgbClr val="281A0D"/>
                </a:solidFill>
              </a:rPr>
            </a:br>
            <a:r>
              <a:rPr lang="en-US" sz="2400" dirty="0">
                <a:solidFill>
                  <a:srgbClr val="281A0D"/>
                </a:solidFill>
              </a:rPr>
              <a:t>CORC-11586</a:t>
            </a:r>
            <a:br>
              <a:rPr lang="en-US" sz="2400" dirty="0">
                <a:solidFill>
                  <a:srgbClr val="281A0D"/>
                </a:solidFill>
              </a:rPr>
            </a:br>
            <a:br>
              <a:rPr lang="en-US" sz="2400" dirty="0">
                <a:solidFill>
                  <a:srgbClr val="281A0D"/>
                </a:solidFill>
              </a:rPr>
            </a:br>
            <a:r>
              <a:rPr lang="en-US" sz="2400" b="0" i="0" dirty="0">
                <a:solidFill>
                  <a:srgbClr val="172B4D"/>
                </a:solidFill>
                <a:effectLst/>
                <a:latin typeface="-apple-system"/>
              </a:rPr>
              <a:t>Lambda Token Generator | Enable </a:t>
            </a:r>
            <a:r>
              <a:rPr lang="en-US" sz="2400" b="0" i="0" dirty="0" err="1">
                <a:solidFill>
                  <a:srgbClr val="172B4D"/>
                </a:solidFill>
                <a:effectLst/>
                <a:latin typeface="-apple-system"/>
              </a:rPr>
              <a:t>TFVar</a:t>
            </a:r>
            <a:r>
              <a:rPr lang="en-US" sz="2400" b="0" i="0" dirty="0">
                <a:solidFill>
                  <a:srgbClr val="172B4D"/>
                </a:solidFill>
                <a:effectLst/>
                <a:latin typeface="-apple-system"/>
              </a:rPr>
              <a:t> Migration for Dev, INT</a:t>
            </a:r>
            <a:br>
              <a:rPr lang="en-US" sz="2400" dirty="0">
                <a:solidFill>
                  <a:srgbClr val="281A0D"/>
                </a:solidFill>
              </a:rPr>
            </a:br>
            <a:r>
              <a:rPr lang="en-US" sz="1600" b="0" dirty="0"/>
              <a:t> </a:t>
            </a:r>
            <a:br>
              <a:rPr lang="en-US" sz="1600" dirty="0"/>
            </a:br>
            <a:br>
              <a:rPr lang="en-US" sz="2400" dirty="0">
                <a:solidFill>
                  <a:srgbClr val="281A0D"/>
                </a:solidFill>
              </a:rPr>
            </a:br>
            <a:br>
              <a:rPr lang="en-US" sz="2400" dirty="0">
                <a:solidFill>
                  <a:srgbClr val="281A0D"/>
                </a:solidFill>
              </a:rPr>
            </a:br>
            <a:br>
              <a:rPr lang="en-US" sz="1200" dirty="0"/>
            </a:br>
            <a:br>
              <a:rPr lang="en-US" sz="2400" dirty="0">
                <a:solidFill>
                  <a:srgbClr val="281A0D"/>
                </a:solidFill>
              </a:rPr>
            </a:br>
            <a:br>
              <a:rPr lang="en-US" sz="2400" dirty="0">
                <a:solidFill>
                  <a:srgbClr val="281A0D"/>
                </a:solidFill>
              </a:rPr>
            </a:br>
            <a:endParaRPr lang="en-US" sz="1600" dirty="0">
              <a:solidFill>
                <a:srgbClr val="281A0D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97224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375" y="762001"/>
            <a:ext cx="5832649" cy="457200"/>
          </a:xfrm>
        </p:spPr>
        <p:txBody>
          <a:bodyPr/>
          <a:lstStyle/>
          <a:p>
            <a:r>
              <a:rPr lang="en-GB" sz="2000" dirty="0"/>
              <a:t>Purpose: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4350" y="1295400"/>
            <a:ext cx="5756449" cy="2743200"/>
          </a:xfrm>
        </p:spPr>
        <p:txBody>
          <a:bodyPr/>
          <a:lstStyle/>
          <a:p>
            <a:endParaRPr lang="en-US" dirty="0"/>
          </a:p>
          <a:p>
            <a:r>
              <a:rPr lang="en-US" sz="18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-</a:t>
            </a:r>
            <a:r>
              <a:rPr lang="en-US" sz="200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we want to achieve single environment deployment pipelines for all existing environments. </a:t>
            </a:r>
            <a:r>
              <a:rPr lang="en-US" sz="2000" dirty="0">
                <a:solidFill>
                  <a:srgbClr val="242424"/>
                </a:solidFill>
                <a:latin typeface="Segoe UI" panose="020B0502040204020203" pitchFamily="34" charset="0"/>
              </a:rPr>
              <a:t>Because</a:t>
            </a:r>
            <a:r>
              <a:rPr lang="en-US" sz="200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 with this we want to migrate Legacy environment deployments to Pushbutton Environment Deployments.</a:t>
            </a:r>
            <a:endParaRPr lang="en-US" sz="2000" dirty="0"/>
          </a:p>
          <a:p>
            <a:endParaRPr lang="en-US" sz="1800" dirty="0"/>
          </a:p>
          <a:p>
            <a:r>
              <a:rPr lang="en-US" sz="1800" b="1" dirty="0">
                <a:solidFill>
                  <a:srgbClr val="242424"/>
                </a:solidFill>
                <a:latin typeface="Segoe UI" panose="020B0502040204020203" pitchFamily="34" charset="0"/>
              </a:rPr>
              <a:t>-</a:t>
            </a:r>
            <a:r>
              <a:rPr lang="en-US" sz="2000" dirty="0">
                <a:solidFill>
                  <a:srgbClr val="242424"/>
                </a:solidFill>
                <a:latin typeface="Segoe UI" panose="020B0502040204020203" pitchFamily="34" charset="0"/>
              </a:rPr>
              <a:t>with this </a:t>
            </a:r>
            <a:r>
              <a:rPr lang="en-US" sz="2000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Standardized Environments will enable us                to achieve faster releases as </a:t>
            </a:r>
            <a:r>
              <a:rPr lang="en-US" sz="2000" b="0" i="0" dirty="0" err="1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PushButton</a:t>
            </a:r>
            <a:r>
              <a:rPr lang="en-US" sz="2000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 Environments by removing Terraform configuration file. </a:t>
            </a:r>
            <a:endParaRPr lang="en-US" sz="2000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  </a:t>
            </a:r>
          </a:p>
          <a:p>
            <a:endParaRPr lang="en-US" dirty="0"/>
          </a:p>
          <a:p>
            <a:endParaRPr lang="en-US" b="1" dirty="0"/>
          </a:p>
          <a:p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4695796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762000"/>
            <a:ext cx="5832649" cy="1449897"/>
          </a:xfrm>
        </p:spPr>
        <p:txBody>
          <a:bodyPr/>
          <a:lstStyle/>
          <a:p>
            <a:r>
              <a:rPr lang="en-GB" sz="2000" dirty="0"/>
              <a:t>Steps to achieve to solve: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9375" y="2590800"/>
            <a:ext cx="8283625" cy="1566703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dirty="0"/>
              <a:t>Materialized the configuration files  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Done with some Manual changes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-   Done with Backward Compatibility</a:t>
            </a:r>
          </a:p>
          <a:p>
            <a:endParaRPr lang="en-US" dirty="0"/>
          </a:p>
          <a:p>
            <a:endParaRPr lang="en-US" b="1" dirty="0"/>
          </a:p>
          <a:p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1922441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ow Can Restaurants Benefit From API&amp;#39;s?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800" y="4766735"/>
            <a:ext cx="3076575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685800" y="1"/>
            <a:ext cx="6400800" cy="15251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GB" sz="2000" dirty="0"/>
              <a:t>Removed TF Files from Infrastructure repo: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14400" y="4443569"/>
            <a:ext cx="10363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 </a:t>
            </a:r>
          </a:p>
          <a:p>
            <a:r>
              <a:rPr lang="en-US" dirty="0"/>
              <a:t> </a:t>
            </a: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533400" y="1525139"/>
            <a:ext cx="248786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dirty="0"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2" name="Picture 1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0B6927D5-0784-449E-85B5-614512B4F0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219200"/>
            <a:ext cx="11201400" cy="5148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5596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27389-A8F2-46C9-B834-3CFE9A4445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ushButton</a:t>
            </a:r>
            <a:r>
              <a:rPr lang="en-US" dirty="0"/>
              <a:t> Deployment: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95C86ED-08AF-4B03-A29E-494F90F35A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48" y="914400"/>
            <a:ext cx="11964651" cy="5238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9523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ow Can Restaurants Benefit From API&amp;#39;s?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800" y="4766735"/>
            <a:ext cx="3076575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657793" y="228601"/>
            <a:ext cx="8867207" cy="92333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GB" sz="2000" dirty="0"/>
              <a:t>Testing details on DEV,INT: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219200" y="4120404"/>
            <a:ext cx="4876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 </a:t>
            </a:r>
          </a:p>
          <a:p>
            <a:r>
              <a:rPr lang="en-US" dirty="0"/>
              <a:t> </a:t>
            </a: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762000" y="1525139"/>
            <a:ext cx="678180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dirty="0"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9" name="Picture 8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B3E17D06-D727-4B52-B5C5-01F740CF2A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300" y="1151931"/>
            <a:ext cx="4419600" cy="4790068"/>
          </a:xfrm>
          <a:prstGeom prst="rect">
            <a:avLst/>
          </a:prstGeom>
        </p:spPr>
      </p:pic>
      <p:pic>
        <p:nvPicPr>
          <p:cNvPr id="11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7F7E4472-C1ED-4BBD-AB7C-E5FD297764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100" y="1151931"/>
            <a:ext cx="5181600" cy="4790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1363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682" name="Picture 2" descr="Promotions :: McDonald&amp;#39;s Cypru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-990600"/>
            <a:ext cx="5486400" cy="3543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6" name="Picture 6" descr="Free Vector | Thank you letter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3124200"/>
            <a:ext cx="4724400" cy="2796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9680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apgemini Master">
  <a:themeElements>
    <a:clrScheme name="Custom 1">
      <a:dk1>
        <a:srgbClr val="000000"/>
      </a:dk1>
      <a:lt1>
        <a:srgbClr val="FFFFFF"/>
      </a:lt1>
      <a:dk2>
        <a:srgbClr val="FFBC0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pgemini Template_McDonald's Account_2021_FINAL.potx  -  Read-Only" id="{CA986648-64D7-4D74-A6B5-48F92798C11D}" vid="{F3549EFF-1814-4E6E-B722-A71BCEB1647A}"/>
    </a:ext>
  </a:extLst>
</a:theme>
</file>

<file path=ppt/theme/theme2.xml><?xml version="1.0" encoding="utf-8"?>
<a:theme xmlns:a="http://schemas.openxmlformats.org/drawingml/2006/main" name="1_Capgemini Master">
  <a:themeElements>
    <a:clrScheme name="Custom 1">
      <a:dk1>
        <a:srgbClr val="000000"/>
      </a:dk1>
      <a:lt1>
        <a:srgbClr val="FFFFFF"/>
      </a:lt1>
      <a:dk2>
        <a:srgbClr val="FFBC0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apgemini Template_McDonald's Account_2021_FINAL.potx  -  Read-Only" id="{CA986648-64D7-4D74-A6B5-48F92798C11D}" vid="{E4BA485E-7391-445B-8CDE-BE56EEC0BD01}"/>
    </a:ext>
  </a:extLst>
</a:theme>
</file>

<file path=ppt/theme/theme3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pgemini Template_McDonald's Account_2021_FINAL.potx  -  Read-Only" id="{CA986648-64D7-4D74-A6B5-48F92798C11D}" vid="{927431E8-6F50-4495-8DFE-9FBA8A58547A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08FA676C24374ABFD0F42AD22AA326" ma:contentTypeVersion="13" ma:contentTypeDescription="Create a new document." ma:contentTypeScope="" ma:versionID="1bcf48fd00818469c88319f65ed88756">
  <xsd:schema xmlns:xsd="http://www.w3.org/2001/XMLSchema" xmlns:xs="http://www.w3.org/2001/XMLSchema" xmlns:p="http://schemas.microsoft.com/office/2006/metadata/properties" xmlns:ns2="b6ab9670-a3df-4812-a1d3-d0a4a3668744" xmlns:ns3="456c45c1-35ce-4378-b4d0-44b661f074d6" targetNamespace="http://schemas.microsoft.com/office/2006/metadata/properties" ma:root="true" ma:fieldsID="9bc0084815d62cc81e463f438a24cf45" ns2:_="" ns3:_="">
    <xsd:import namespace="b6ab9670-a3df-4812-a1d3-d0a4a3668744"/>
    <xsd:import namespace="456c45c1-35ce-4378-b4d0-44b661f074d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EventHashCode" minOccurs="0"/>
                <xsd:element ref="ns2:MediaServiceGenerationTime" minOccurs="0"/>
                <xsd:element ref="ns2:DocumentNote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ab9670-a3df-4812-a1d3-d0a4a36687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DocumentNotes" ma:index="18" nillable="true" ma:displayName="Document Notes" ma:format="Dropdown" ma:internalName="DocumentNotes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6c45c1-35ce-4378-b4d0-44b661f074d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56c45c1-35ce-4378-b4d0-44b661f074d6">
      <UserInfo>
        <DisplayName>Schwappach, Anne M</DisplayName>
        <AccountId>67</AccountId>
        <AccountType/>
      </UserInfo>
    </SharedWithUsers>
    <DocumentNotes xmlns="b6ab9670-a3df-4812-a1d3-d0a4a366874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D5469CB-7BC8-468B-8E5E-005D16B722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6ab9670-a3df-4812-a1d3-d0a4a3668744"/>
    <ds:schemaRef ds:uri="456c45c1-35ce-4378-b4d0-44b661f074d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90AEEE6-C4E5-452E-A7FC-FB0F010C7367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b6ab9670-a3df-4812-a1d3-d0a4a3668744"/>
    <ds:schemaRef ds:uri="http://schemas.microsoft.com/office/infopath/2007/PartnerControls"/>
    <ds:schemaRef ds:uri="456c45c1-35ce-4378-b4d0-44b661f074d6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01C13E1-8B26-4EDB-9E9C-0CFA836FAF7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pgemini Template_McDonald's Account_2021_FINAL</Template>
  <TotalTime>1043</TotalTime>
  <Words>130</Words>
  <Application>Microsoft Office PowerPoint</Application>
  <PresentationFormat>Widescreen</PresentationFormat>
  <Paragraphs>33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-apple-system</vt:lpstr>
      <vt:lpstr>Arial</vt:lpstr>
      <vt:lpstr>Calibri</vt:lpstr>
      <vt:lpstr>Segoe UI</vt:lpstr>
      <vt:lpstr>Verdana</vt:lpstr>
      <vt:lpstr>Wingdings</vt:lpstr>
      <vt:lpstr>2_Capgemini Master</vt:lpstr>
      <vt:lpstr>1_Capgemini Master</vt:lpstr>
      <vt:lpstr>Cover options</vt:lpstr>
      <vt:lpstr>think-cell Slide</vt:lpstr>
      <vt:lpstr>      CORC-11586  Lambda Token Generator | Enable TFVar Migration for Dev, INT        </vt:lpstr>
      <vt:lpstr>Purpose:</vt:lpstr>
      <vt:lpstr>Steps to achieve to solve:</vt:lpstr>
      <vt:lpstr>PowerPoint Presentation</vt:lpstr>
      <vt:lpstr>PushButton Deployment: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>ppt template</dc:subject>
  <dc:creator>Khan, Rehab</dc:creator>
  <cp:lastModifiedBy>Sabavath, Venkatesh Naik</cp:lastModifiedBy>
  <cp:revision>59</cp:revision>
  <dcterms:created xsi:type="dcterms:W3CDTF">2021-04-19T18:10:29Z</dcterms:created>
  <dcterms:modified xsi:type="dcterms:W3CDTF">2022-06-22T10:4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08FA676C24374ABFD0F42AD22AA326</vt:lpwstr>
  </property>
</Properties>
</file>